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"/>
  </p:notesMasterIdLst>
  <p:sldIdLst>
    <p:sldId id="553" r:id="rId2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2" d="100"/>
          <a:sy n="62" d="100"/>
        </p:scale>
        <p:origin x="800" y="4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1D43782-27EE-4D1B-A16C-A250C36D4488}" type="datetimeFigureOut">
              <a:rPr lang="zh-CN" altLang="en-US" smtClean="0"/>
              <a:t>2025/9/8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EB0143F-20A7-4A69-B70A-3523D8C155A9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34946514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9358622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Cover_Title with BG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3" name="品牌深绿色封面 50pt"/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488245" y="3209607"/>
            <a:ext cx="5465937" cy="450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2500" spc="150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zh-CN" altLang="en-US" dirty="0"/>
              <a:t>主标题文字示意 </a:t>
            </a:r>
            <a:r>
              <a:rPr lang="en-US" altLang="zh-CN" dirty="0"/>
              <a:t>50</a:t>
            </a:r>
            <a:r>
              <a:rPr lang="en-CN"/>
              <a:t>pt</a:t>
            </a:r>
            <a:endParaRPr lang="en-CN" dirty="0"/>
          </a:p>
        </p:txBody>
      </p:sp>
      <p:sp>
        <p:nvSpPr>
          <p:cNvPr id="214" name="文件名称 30pt"/>
          <p:cNvSpPr txBox="1">
            <a:spLocks noGrp="1"/>
          </p:cNvSpPr>
          <p:nvPr>
            <p:ph type="body" sz="quarter" idx="22" hasCustomPrompt="1"/>
          </p:nvPr>
        </p:nvSpPr>
        <p:spPr>
          <a:xfrm>
            <a:off x="488245" y="2958159"/>
            <a:ext cx="3698502" cy="292997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en-CN" dirty="0"/>
              <a:t>副标题文字示意</a:t>
            </a:r>
            <a:r>
              <a:rPr dirty="0"/>
              <a:t> 30pt</a:t>
            </a:r>
          </a:p>
        </p:txBody>
      </p:sp>
      <p:sp>
        <p:nvSpPr>
          <p:cNvPr id="215" name="YYYY MM DD 22.5pt"/>
          <p:cNvSpPr txBox="1">
            <a:spLocks noGrp="1"/>
          </p:cNvSpPr>
          <p:nvPr>
            <p:ph type="body" sz="quarter" idx="23"/>
          </p:nvPr>
        </p:nvSpPr>
        <p:spPr>
          <a:xfrm>
            <a:off x="488245" y="3713663"/>
            <a:ext cx="3698502" cy="173124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1125" spc="68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</a:defRPr>
            </a:lvl1pPr>
          </a:lstStyle>
          <a:p>
            <a:r>
              <a:t>YYYY MM DD 22.5pt</a:t>
            </a:r>
          </a:p>
        </p:txBody>
      </p:sp>
      <p:pic>
        <p:nvPicPr>
          <p:cNvPr id="37" name="图片 36">
            <a:extLst>
              <a:ext uri="{FF2B5EF4-FFF2-40B4-BE49-F238E27FC236}">
                <a16:creationId xmlns:a16="http://schemas.microsoft.com/office/drawing/2014/main" id="{6E956642-B465-F430-C228-50C53DF6E2A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38174" y="3286587"/>
            <a:ext cx="1407564" cy="282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67571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11">
            <a:extLst>
              <a:ext uri="{FF2B5EF4-FFF2-40B4-BE49-F238E27FC236}">
                <a16:creationId xmlns:a16="http://schemas.microsoft.com/office/drawing/2014/main" id="{205FEE54-4656-4C9E-877D-8FA838BC8856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Copyright">
            <a:extLst>
              <a:ext uri="{FF2B5EF4-FFF2-40B4-BE49-F238E27FC236}">
                <a16:creationId xmlns:a16="http://schemas.microsoft.com/office/drawing/2014/main" id="{DE824560-B910-46EB-96C0-6C9DABA71AA2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CF913515-D1B5-4750-8750-991BCA9D45A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标题 1">
            <a:extLst>
              <a:ext uri="{FF2B5EF4-FFF2-40B4-BE49-F238E27FC236}">
                <a16:creationId xmlns:a16="http://schemas.microsoft.com/office/drawing/2014/main" id="{375E3343-0959-4EB2-8F34-5AD38682C1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rgbClr val="002D28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380165183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38016CF-C1EB-4E4E-BFE3-98E1DEDD58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5" name="TextBox 11">
            <a:extLst>
              <a:ext uri="{FF2B5EF4-FFF2-40B4-BE49-F238E27FC236}">
                <a16:creationId xmlns:a16="http://schemas.microsoft.com/office/drawing/2014/main" id="{6B4D8D53-9A1A-402F-A52D-F62B28502D2F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Copyright">
            <a:extLst>
              <a:ext uri="{FF2B5EF4-FFF2-40B4-BE49-F238E27FC236}">
                <a16:creationId xmlns:a16="http://schemas.microsoft.com/office/drawing/2014/main" id="{F8D89439-77C9-4E61-8F99-766FC7EFF5C9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0E426FA6-B907-4EAC-BAA7-03DF05CF1F4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057841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>
            <a:extLst>
              <a:ext uri="{FF2B5EF4-FFF2-40B4-BE49-F238E27FC236}">
                <a16:creationId xmlns:a16="http://schemas.microsoft.com/office/drawing/2014/main" id="{380E62ED-C2FC-46CC-B007-26A50A3D4E8E}"/>
              </a:ext>
            </a:extLst>
          </p:cNvPr>
          <p:cNvSpPr/>
          <p:nvPr userDrawn="1"/>
        </p:nvSpPr>
        <p:spPr>
          <a:xfrm>
            <a:off x="0" y="-1"/>
            <a:ext cx="12192000" cy="6858001"/>
          </a:xfrm>
          <a:prstGeom prst="rect">
            <a:avLst/>
          </a:prstGeom>
          <a:solidFill>
            <a:srgbClr val="002D28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3" name="think-cell 幻灯片" r:id="rId4" imgW="384" imgH="384" progId="TCLayout.ActiveDocument.1">
                  <p:embed/>
                </p:oleObj>
              </mc:Choice>
              <mc:Fallback>
                <p:oleObj name="think-cell 幻灯片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图片 10">
            <a:extLst>
              <a:ext uri="{FF2B5EF4-FFF2-40B4-BE49-F238E27FC236}">
                <a16:creationId xmlns:a16="http://schemas.microsoft.com/office/drawing/2014/main" id="{BDBD6C09-D67F-4985-9DF5-BC44166A620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748219" y="3146963"/>
            <a:ext cx="2815127" cy="5640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69784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7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6904843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1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39350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9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4450168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11.xml"/><Relationship Id="rId13" Type="http://schemas.openxmlformats.org/officeDocument/2006/relationships/image" Target="../media/image5.emf"/><Relationship Id="rId3" Type="http://schemas.openxmlformats.org/officeDocument/2006/relationships/tags" Target="../tags/tag6.xml"/><Relationship Id="rId7" Type="http://schemas.openxmlformats.org/officeDocument/2006/relationships/tags" Target="../tags/tag10.xml"/><Relationship Id="rId12" Type="http://schemas.openxmlformats.org/officeDocument/2006/relationships/oleObject" Target="../embeddings/oleObject5.bin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tags" Target="../tags/tag9.xml"/><Relationship Id="rId11" Type="http://schemas.openxmlformats.org/officeDocument/2006/relationships/notesSlide" Target="../notesSlides/notesSlide1.xml"/><Relationship Id="rId5" Type="http://schemas.openxmlformats.org/officeDocument/2006/relationships/tags" Target="../tags/tag8.xml"/><Relationship Id="rId10" Type="http://schemas.openxmlformats.org/officeDocument/2006/relationships/slideLayout" Target="../slideLayouts/slideLayout5.xml"/><Relationship Id="rId4" Type="http://schemas.openxmlformats.org/officeDocument/2006/relationships/tags" Target="../tags/tag7.xml"/><Relationship Id="rId9" Type="http://schemas.openxmlformats.org/officeDocument/2006/relationships/tags" Target="../tags/tag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B7D4B738-06BC-7681-34C7-D16A12F9D29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5" name="think-cell 幻灯片" r:id="rId12" imgW="349" imgH="349" progId="TCLayout.ActiveDocument.1">
                  <p:embed/>
                </p:oleObj>
              </mc:Choice>
              <mc:Fallback>
                <p:oleObj name="think-cell 幻灯片" r:id="rId12" imgW="349" imgH="349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7D4B738-06BC-7681-34C7-D16A12F9D29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>
            <a:extLst>
              <a:ext uri="{FF2B5EF4-FFF2-40B4-BE49-F238E27FC236}">
                <a16:creationId xmlns:a16="http://schemas.microsoft.com/office/drawing/2014/main" id="{A65A5F62-4D47-9783-A8C2-A9D043690D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 altLang="zh-CN" dirty="0"/>
              <a:t>{title}</a:t>
            </a:r>
            <a:endParaRPr lang="en-US" dirty="0"/>
          </a:p>
        </p:txBody>
      </p:sp>
      <p:sp>
        <p:nvSpPr>
          <p:cNvPr id="58" name="Textfeld 1">
            <a:extLst>
              <a:ext uri="{FF2B5EF4-FFF2-40B4-BE49-F238E27FC236}">
                <a16:creationId xmlns:a16="http://schemas.microsoft.com/office/drawing/2014/main" id="{899B0E50-B95F-A328-22F9-48664CFCE5DF}"/>
              </a:ext>
            </a:extLst>
          </p:cNvPr>
          <p:cNvSpPr txBox="1">
            <a:spLocks/>
          </p:cNvSpPr>
          <p:nvPr/>
        </p:nvSpPr>
        <p:spPr>
          <a:xfrm rot="1702397">
            <a:off x="8197089" y="3918532"/>
            <a:ext cx="1902685" cy="1902018"/>
          </a:xfrm>
          <a:prstGeom prst="rect">
            <a:avLst/>
          </a:prstGeom>
          <a:noFill/>
        </p:spPr>
        <p:txBody>
          <a:bodyPr spcFirstLastPara="1" wrap="none" lIns="0" tIns="0" rIns="0" bIns="0" numCol="1" rtlCol="0" anchor="ctr">
            <a:prstTxWarp prst="textArchUp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1A7449"/>
              </a:buClr>
              <a:buSzPct val="80000"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Verdana" pitchFamily="34" charset="0"/>
                <a:cs typeface="Verdana" pitchFamily="34" charset="0"/>
              </a:rPr>
              <a:t>Lorem</a:t>
            </a:r>
          </a:p>
        </p:txBody>
      </p:sp>
      <p:grpSp>
        <p:nvGrpSpPr>
          <p:cNvPr id="8" name="Gruppieren 125">
            <a:extLst>
              <a:ext uri="{FF2B5EF4-FFF2-40B4-BE49-F238E27FC236}">
                <a16:creationId xmlns:a16="http://schemas.microsoft.com/office/drawing/2014/main" id="{8741ADE8-73A7-C36E-FD8F-9FFEB8F99B9B}"/>
              </a:ext>
            </a:extLst>
          </p:cNvPr>
          <p:cNvGrpSpPr>
            <a:grpSpLocks/>
          </p:cNvGrpSpPr>
          <p:nvPr/>
        </p:nvGrpSpPr>
        <p:grpSpPr>
          <a:xfrm>
            <a:off x="7980727" y="3752213"/>
            <a:ext cx="2307126" cy="2306315"/>
            <a:chOff x="3905250" y="1238250"/>
            <a:chExt cx="4378642" cy="4378737"/>
          </a:xfrm>
          <a:solidFill>
            <a:schemeClr val="bg2"/>
          </a:solidFill>
        </p:grpSpPr>
        <p:sp>
          <p:nvSpPr>
            <p:cNvPr id="9" name="Freihandform: Form 118">
              <a:extLst>
                <a:ext uri="{FF2B5EF4-FFF2-40B4-BE49-F238E27FC236}">
                  <a16:creationId xmlns:a16="http://schemas.microsoft.com/office/drawing/2014/main" id="{5A1EF53E-7ADA-A019-B043-47AEA3E2E77F}"/>
                </a:ext>
              </a:extLst>
            </p:cNvPr>
            <p:cNvSpPr>
              <a:spLocks/>
            </p:cNvSpPr>
            <p:nvPr/>
          </p:nvSpPr>
          <p:spPr>
            <a:xfrm>
              <a:off x="3905250" y="2212847"/>
              <a:ext cx="997362" cy="1716785"/>
            </a:xfrm>
            <a:custGeom>
              <a:avLst/>
              <a:gdLst>
                <a:gd name="connsiteX0" fmla="*/ 57531 w 997362"/>
                <a:gd name="connsiteY0" fmla="*/ 1716786 h 1716785"/>
                <a:gd name="connsiteX1" fmla="*/ 398907 w 997362"/>
                <a:gd name="connsiteY1" fmla="*/ 1314641 h 1716785"/>
                <a:gd name="connsiteX2" fmla="*/ 834866 w 997362"/>
                <a:gd name="connsiteY2" fmla="*/ 1524191 h 1716785"/>
                <a:gd name="connsiteX3" fmla="*/ 800100 w 997362"/>
                <a:gd name="connsiteY3" fmla="*/ 1214628 h 1716785"/>
                <a:gd name="connsiteX4" fmla="*/ 997363 w 997362"/>
                <a:gd name="connsiteY4" fmla="*/ 501586 h 1716785"/>
                <a:gd name="connsiteX5" fmla="*/ 881348 w 997362"/>
                <a:gd name="connsiteY5" fmla="*/ 11906 h 1716785"/>
                <a:gd name="connsiteX6" fmla="*/ 366998 w 997362"/>
                <a:gd name="connsiteY6" fmla="*/ 0 h 1716785"/>
                <a:gd name="connsiteX7" fmla="*/ 0 w 997362"/>
                <a:gd name="connsiteY7" fmla="*/ 1214723 h 1716785"/>
                <a:gd name="connsiteX8" fmla="*/ 57531 w 997362"/>
                <a:gd name="connsiteY8" fmla="*/ 1716786 h 17167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97362" h="1716785">
                  <a:moveTo>
                    <a:pt x="57531" y="1716786"/>
                  </a:moveTo>
                  <a:lnTo>
                    <a:pt x="398907" y="1314641"/>
                  </a:lnTo>
                  <a:lnTo>
                    <a:pt x="834866" y="1524191"/>
                  </a:lnTo>
                  <a:cubicBezTo>
                    <a:pt x="811721" y="1423130"/>
                    <a:pt x="800100" y="1319308"/>
                    <a:pt x="800100" y="1214628"/>
                  </a:cubicBezTo>
                  <a:cubicBezTo>
                    <a:pt x="800100" y="962882"/>
                    <a:pt x="868299" y="716661"/>
                    <a:pt x="997363" y="501586"/>
                  </a:cubicBezTo>
                  <a:lnTo>
                    <a:pt x="881348" y="11906"/>
                  </a:lnTo>
                  <a:lnTo>
                    <a:pt x="366998" y="0"/>
                  </a:lnTo>
                  <a:cubicBezTo>
                    <a:pt x="126873" y="358711"/>
                    <a:pt x="0" y="778193"/>
                    <a:pt x="0" y="1214723"/>
                  </a:cubicBezTo>
                  <a:cubicBezTo>
                    <a:pt x="0" y="1384745"/>
                    <a:pt x="19336" y="1553337"/>
                    <a:pt x="57531" y="171678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10" name="Freihandform: Form 119">
              <a:extLst>
                <a:ext uri="{FF2B5EF4-FFF2-40B4-BE49-F238E27FC236}">
                  <a16:creationId xmlns:a16="http://schemas.microsoft.com/office/drawing/2014/main" id="{91EFB4E6-6785-0BD4-F86C-B86C3ED2F9CA}"/>
                </a:ext>
              </a:extLst>
            </p:cNvPr>
            <p:cNvSpPr>
              <a:spLocks/>
            </p:cNvSpPr>
            <p:nvPr/>
          </p:nvSpPr>
          <p:spPr>
            <a:xfrm>
              <a:off x="4005357" y="3692366"/>
              <a:ext cx="1484376" cy="1709070"/>
            </a:xfrm>
            <a:custGeom>
              <a:avLst/>
              <a:gdLst>
                <a:gd name="connsiteX0" fmla="*/ 1484281 w 1484376"/>
                <a:gd name="connsiteY0" fmla="*/ 985838 h 1709070"/>
                <a:gd name="connsiteX1" fmla="*/ 786289 w 1484376"/>
                <a:gd name="connsiteY1" fmla="*/ 217551 h 1709070"/>
                <a:gd name="connsiteX2" fmla="*/ 333851 w 1484376"/>
                <a:gd name="connsiteY2" fmla="*/ 0 h 1709070"/>
                <a:gd name="connsiteX3" fmla="*/ 0 w 1484376"/>
                <a:gd name="connsiteY3" fmla="*/ 393287 h 1709070"/>
                <a:gd name="connsiteX4" fmla="*/ 541115 w 1484376"/>
                <a:gd name="connsiteY4" fmla="*/ 1283208 h 1709070"/>
                <a:gd name="connsiteX5" fmla="*/ 1139666 w 1484376"/>
                <a:gd name="connsiteY5" fmla="*/ 1709071 h 1709070"/>
                <a:gd name="connsiteX6" fmla="*/ 1042702 w 1484376"/>
                <a:gd name="connsiteY6" fmla="*/ 1194626 h 1709070"/>
                <a:gd name="connsiteX7" fmla="*/ 1484376 w 1484376"/>
                <a:gd name="connsiteY7" fmla="*/ 985647 h 1709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484376" h="1709070">
                  <a:moveTo>
                    <a:pt x="1484281" y="985838"/>
                  </a:moveTo>
                  <a:cubicBezTo>
                    <a:pt x="1162526" y="829628"/>
                    <a:pt x="911257" y="554069"/>
                    <a:pt x="786289" y="217551"/>
                  </a:cubicBezTo>
                  <a:lnTo>
                    <a:pt x="333851" y="0"/>
                  </a:lnTo>
                  <a:lnTo>
                    <a:pt x="0" y="393287"/>
                  </a:lnTo>
                  <a:cubicBezTo>
                    <a:pt x="104394" y="725996"/>
                    <a:pt x="291275" y="1033367"/>
                    <a:pt x="541115" y="1283208"/>
                  </a:cubicBezTo>
                  <a:cubicBezTo>
                    <a:pt x="717518" y="1459611"/>
                    <a:pt x="918591" y="1602581"/>
                    <a:pt x="1139666" y="1709071"/>
                  </a:cubicBezTo>
                  <a:lnTo>
                    <a:pt x="1042702" y="1194626"/>
                  </a:lnTo>
                  <a:lnTo>
                    <a:pt x="1484376" y="98564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11" name="Freihandform: Form 120">
              <a:extLst>
                <a:ext uri="{FF2B5EF4-FFF2-40B4-BE49-F238E27FC236}">
                  <a16:creationId xmlns:a16="http://schemas.microsoft.com/office/drawing/2014/main" id="{A7C11310-CEE0-B071-56FE-A559C7BC9FB1}"/>
                </a:ext>
              </a:extLst>
            </p:cNvPr>
            <p:cNvSpPr>
              <a:spLocks/>
            </p:cNvSpPr>
            <p:nvPr/>
          </p:nvSpPr>
          <p:spPr>
            <a:xfrm>
              <a:off x="5198078" y="4682490"/>
              <a:ext cx="1829180" cy="934497"/>
            </a:xfrm>
            <a:custGeom>
              <a:avLst/>
              <a:gdLst>
                <a:gd name="connsiteX0" fmla="*/ 1491901 w 1829180"/>
                <a:gd name="connsiteY0" fmla="*/ 95 h 934497"/>
                <a:gd name="connsiteX1" fmla="*/ 896493 w 1829180"/>
                <a:gd name="connsiteY1" fmla="*/ 134398 h 934497"/>
                <a:gd name="connsiteX2" fmla="*/ 459200 w 1829180"/>
                <a:gd name="connsiteY2" fmla="*/ 63913 h 934497"/>
                <a:gd name="connsiteX3" fmla="*/ 0 w 1829180"/>
                <a:gd name="connsiteY3" fmla="*/ 281178 h 934497"/>
                <a:gd name="connsiteX4" fmla="*/ 94774 w 1829180"/>
                <a:gd name="connsiteY4" fmla="*/ 783622 h 934497"/>
                <a:gd name="connsiteX5" fmla="*/ 896493 w 1829180"/>
                <a:gd name="connsiteY5" fmla="*/ 934498 h 934497"/>
                <a:gd name="connsiteX6" fmla="*/ 1829181 w 1829180"/>
                <a:gd name="connsiteY6" fmla="*/ 727138 h 934497"/>
                <a:gd name="connsiteX7" fmla="*/ 1374743 w 1829180"/>
                <a:gd name="connsiteY7" fmla="*/ 482155 h 934497"/>
                <a:gd name="connsiteX8" fmla="*/ 1491996 w 1829180"/>
                <a:gd name="connsiteY8" fmla="*/ 0 h 9344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829180" h="934497">
                  <a:moveTo>
                    <a:pt x="1491901" y="95"/>
                  </a:moveTo>
                  <a:cubicBezTo>
                    <a:pt x="1306830" y="88201"/>
                    <a:pt x="1102709" y="134398"/>
                    <a:pt x="896493" y="134398"/>
                  </a:cubicBezTo>
                  <a:cubicBezTo>
                    <a:pt x="746855" y="134398"/>
                    <a:pt x="599885" y="110680"/>
                    <a:pt x="459200" y="63913"/>
                  </a:cubicBezTo>
                  <a:lnTo>
                    <a:pt x="0" y="281178"/>
                  </a:lnTo>
                  <a:lnTo>
                    <a:pt x="94774" y="783622"/>
                  </a:lnTo>
                  <a:cubicBezTo>
                    <a:pt x="349282" y="883730"/>
                    <a:pt x="618839" y="934498"/>
                    <a:pt x="896493" y="934498"/>
                  </a:cubicBezTo>
                  <a:cubicBezTo>
                    <a:pt x="1224534" y="934498"/>
                    <a:pt x="1537907" y="864775"/>
                    <a:pt x="1829181" y="727138"/>
                  </a:cubicBezTo>
                  <a:lnTo>
                    <a:pt x="1374743" y="482155"/>
                  </a:lnTo>
                  <a:lnTo>
                    <a:pt x="1491996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12" name="Freihandform: Form 121">
              <a:extLst>
                <a:ext uri="{FF2B5EF4-FFF2-40B4-BE49-F238E27FC236}">
                  <a16:creationId xmlns:a16="http://schemas.microsoft.com/office/drawing/2014/main" id="{96D6112A-FEDC-C28C-DC47-CA55CBED8B07}"/>
                </a:ext>
              </a:extLst>
            </p:cNvPr>
            <p:cNvSpPr>
              <a:spLocks/>
            </p:cNvSpPr>
            <p:nvPr/>
          </p:nvSpPr>
          <p:spPr>
            <a:xfrm>
              <a:off x="6726555" y="3756469"/>
              <a:ext cx="1493234" cy="1578864"/>
            </a:xfrm>
            <a:custGeom>
              <a:avLst/>
              <a:gdLst>
                <a:gd name="connsiteX0" fmla="*/ 1021366 w 1493234"/>
                <a:gd name="connsiteY0" fmla="*/ 397955 h 1578864"/>
                <a:gd name="connsiteX1" fmla="*/ 717804 w 1493234"/>
                <a:gd name="connsiteY1" fmla="*/ 0 h 1578864"/>
                <a:gd name="connsiteX2" fmla="*/ 122301 w 1493234"/>
                <a:gd name="connsiteY2" fmla="*/ 837247 h 1578864"/>
                <a:gd name="connsiteX3" fmla="*/ 0 w 1493234"/>
                <a:gd name="connsiteY3" fmla="*/ 1339596 h 1578864"/>
                <a:gd name="connsiteX4" fmla="*/ 443865 w 1493234"/>
                <a:gd name="connsiteY4" fmla="*/ 1578864 h 1578864"/>
                <a:gd name="connsiteX5" fmla="*/ 916114 w 1493234"/>
                <a:gd name="connsiteY5" fmla="*/ 1219105 h 1578864"/>
                <a:gd name="connsiteX6" fmla="*/ 1493234 w 1493234"/>
                <a:gd name="connsiteY6" fmla="*/ 200692 h 1578864"/>
                <a:gd name="connsiteX7" fmla="*/ 1021366 w 1493234"/>
                <a:gd name="connsiteY7" fmla="*/ 397859 h 15788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493234" h="1578864">
                  <a:moveTo>
                    <a:pt x="1021366" y="397955"/>
                  </a:moveTo>
                  <a:lnTo>
                    <a:pt x="717804" y="0"/>
                  </a:lnTo>
                  <a:cubicBezTo>
                    <a:pt x="634270" y="342329"/>
                    <a:pt x="420910" y="643509"/>
                    <a:pt x="122301" y="837247"/>
                  </a:cubicBezTo>
                  <a:lnTo>
                    <a:pt x="0" y="1339596"/>
                  </a:lnTo>
                  <a:lnTo>
                    <a:pt x="443865" y="1578864"/>
                  </a:lnTo>
                  <a:cubicBezTo>
                    <a:pt x="615601" y="1481709"/>
                    <a:pt x="774382" y="1360837"/>
                    <a:pt x="916114" y="1219105"/>
                  </a:cubicBezTo>
                  <a:cubicBezTo>
                    <a:pt x="1199579" y="935641"/>
                    <a:pt x="1398175" y="584835"/>
                    <a:pt x="1493234" y="200692"/>
                  </a:cubicBezTo>
                  <a:lnTo>
                    <a:pt x="1021366" y="39785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13" name="Freihandform: Form 122">
              <a:extLst>
                <a:ext uri="{FF2B5EF4-FFF2-40B4-BE49-F238E27FC236}">
                  <a16:creationId xmlns:a16="http://schemas.microsoft.com/office/drawing/2014/main" id="{664340C7-63BA-0786-4D22-805FA45B68D8}"/>
                </a:ext>
              </a:extLst>
            </p:cNvPr>
            <p:cNvSpPr>
              <a:spLocks/>
            </p:cNvSpPr>
            <p:nvPr/>
          </p:nvSpPr>
          <p:spPr>
            <a:xfrm>
              <a:off x="4367212" y="1246917"/>
              <a:ext cx="1841373" cy="1320069"/>
            </a:xfrm>
            <a:custGeom>
              <a:avLst/>
              <a:gdLst>
                <a:gd name="connsiteX0" fmla="*/ 525399 w 1841373"/>
                <a:gd name="connsiteY0" fmla="*/ 846963 h 1320069"/>
                <a:gd name="connsiteX1" fmla="*/ 637413 w 1841373"/>
                <a:gd name="connsiteY1" fmla="*/ 1320070 h 1320069"/>
                <a:gd name="connsiteX2" fmla="*/ 1530001 w 1841373"/>
                <a:gd name="connsiteY2" fmla="*/ 805434 h 1320069"/>
                <a:gd name="connsiteX3" fmla="*/ 1841373 w 1841373"/>
                <a:gd name="connsiteY3" fmla="*/ 402050 h 1320069"/>
                <a:gd name="connsiteX4" fmla="*/ 1531049 w 1841373"/>
                <a:gd name="connsiteY4" fmla="*/ 0 h 1320069"/>
                <a:gd name="connsiteX5" fmla="*/ 179165 w 1841373"/>
                <a:gd name="connsiteY5" fmla="*/ 632555 h 1320069"/>
                <a:gd name="connsiteX6" fmla="*/ 0 w 1841373"/>
                <a:gd name="connsiteY6" fmla="*/ 834771 h 1320069"/>
                <a:gd name="connsiteX7" fmla="*/ 525304 w 1841373"/>
                <a:gd name="connsiteY7" fmla="*/ 846963 h 13200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841373" h="1320069">
                  <a:moveTo>
                    <a:pt x="525399" y="846963"/>
                  </a:moveTo>
                  <a:lnTo>
                    <a:pt x="637413" y="1320070"/>
                  </a:lnTo>
                  <a:cubicBezTo>
                    <a:pt x="858203" y="1041178"/>
                    <a:pt x="1178624" y="855726"/>
                    <a:pt x="1530001" y="805434"/>
                  </a:cubicBezTo>
                  <a:lnTo>
                    <a:pt x="1841373" y="402050"/>
                  </a:lnTo>
                  <a:lnTo>
                    <a:pt x="1531049" y="0"/>
                  </a:lnTo>
                  <a:cubicBezTo>
                    <a:pt x="1022033" y="45053"/>
                    <a:pt x="542639" y="269177"/>
                    <a:pt x="179165" y="632555"/>
                  </a:cubicBezTo>
                  <a:cubicBezTo>
                    <a:pt x="115443" y="696278"/>
                    <a:pt x="55340" y="764096"/>
                    <a:pt x="0" y="834771"/>
                  </a:cubicBezTo>
                  <a:lnTo>
                    <a:pt x="525304" y="846963"/>
                  </a:ln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14" name="Freihandform: Form 123">
              <a:extLst>
                <a:ext uri="{FF2B5EF4-FFF2-40B4-BE49-F238E27FC236}">
                  <a16:creationId xmlns:a16="http://schemas.microsoft.com/office/drawing/2014/main" id="{DE36AF32-D272-517D-4220-8685BDB4A4C0}"/>
                </a:ext>
              </a:extLst>
            </p:cNvPr>
            <p:cNvSpPr>
              <a:spLocks/>
            </p:cNvSpPr>
            <p:nvPr/>
          </p:nvSpPr>
          <p:spPr>
            <a:xfrm>
              <a:off x="6060186" y="1238250"/>
              <a:ext cx="1684115" cy="1230725"/>
            </a:xfrm>
            <a:custGeom>
              <a:avLst/>
              <a:gdLst>
                <a:gd name="connsiteX0" fmla="*/ 16192 w 1684115"/>
                <a:gd name="connsiteY0" fmla="*/ 800195 h 1230725"/>
                <a:gd name="connsiteX1" fmla="*/ 34385 w 1684115"/>
                <a:gd name="connsiteY1" fmla="*/ 800100 h 1230725"/>
                <a:gd name="connsiteX2" fmla="*/ 1024414 w 1684115"/>
                <a:gd name="connsiteY2" fmla="*/ 1215581 h 1230725"/>
                <a:gd name="connsiteX3" fmla="*/ 1543145 w 1684115"/>
                <a:gd name="connsiteY3" fmla="*/ 1230725 h 1230725"/>
                <a:gd name="connsiteX4" fmla="*/ 1684115 w 1684115"/>
                <a:gd name="connsiteY4" fmla="*/ 749713 h 1230725"/>
                <a:gd name="connsiteX5" fmla="*/ 1582484 w 1684115"/>
                <a:gd name="connsiteY5" fmla="*/ 641223 h 1230725"/>
                <a:gd name="connsiteX6" fmla="*/ 34385 w 1684115"/>
                <a:gd name="connsiteY6" fmla="*/ 0 h 1230725"/>
                <a:gd name="connsiteX7" fmla="*/ 0 w 1684115"/>
                <a:gd name="connsiteY7" fmla="*/ 286 h 1230725"/>
                <a:gd name="connsiteX8" fmla="*/ 316992 w 1684115"/>
                <a:gd name="connsiteY8" fmla="*/ 410718 h 1230725"/>
                <a:gd name="connsiteX9" fmla="*/ 16192 w 1684115"/>
                <a:gd name="connsiteY9" fmla="*/ 800195 h 1230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684115" h="1230725">
                  <a:moveTo>
                    <a:pt x="16192" y="800195"/>
                  </a:moveTo>
                  <a:cubicBezTo>
                    <a:pt x="22288" y="800195"/>
                    <a:pt x="28384" y="800100"/>
                    <a:pt x="34385" y="800100"/>
                  </a:cubicBezTo>
                  <a:cubicBezTo>
                    <a:pt x="409861" y="800100"/>
                    <a:pt x="760762" y="947547"/>
                    <a:pt x="1024414" y="1215581"/>
                  </a:cubicBezTo>
                  <a:lnTo>
                    <a:pt x="1543145" y="1230725"/>
                  </a:lnTo>
                  <a:lnTo>
                    <a:pt x="1684115" y="749713"/>
                  </a:lnTo>
                  <a:cubicBezTo>
                    <a:pt x="1651635" y="712661"/>
                    <a:pt x="1617535" y="676180"/>
                    <a:pt x="1582484" y="641223"/>
                  </a:cubicBezTo>
                  <a:cubicBezTo>
                    <a:pt x="1168908" y="227743"/>
                    <a:pt x="619125" y="0"/>
                    <a:pt x="34385" y="0"/>
                  </a:cubicBezTo>
                  <a:cubicBezTo>
                    <a:pt x="22860" y="0"/>
                    <a:pt x="11430" y="0"/>
                    <a:pt x="0" y="286"/>
                  </a:cubicBezTo>
                  <a:lnTo>
                    <a:pt x="316992" y="410718"/>
                  </a:lnTo>
                  <a:lnTo>
                    <a:pt x="16192" y="80019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15" name="Freihandform: Form 124">
              <a:extLst>
                <a:ext uri="{FF2B5EF4-FFF2-40B4-BE49-F238E27FC236}">
                  <a16:creationId xmlns:a16="http://schemas.microsoft.com/office/drawing/2014/main" id="{3E0B4F9A-8CAF-DA33-C98E-7DE2932C6808}"/>
                </a:ext>
              </a:extLst>
            </p:cNvPr>
            <p:cNvSpPr>
              <a:spLocks/>
            </p:cNvSpPr>
            <p:nvPr/>
          </p:nvSpPr>
          <p:spPr>
            <a:xfrm>
              <a:off x="7202805" y="2113692"/>
              <a:ext cx="1081087" cy="1877949"/>
            </a:xfrm>
            <a:custGeom>
              <a:avLst/>
              <a:gdLst>
                <a:gd name="connsiteX0" fmla="*/ 0 w 1081087"/>
                <a:gd name="connsiteY0" fmla="*/ 477012 h 1877949"/>
                <a:gd name="connsiteX1" fmla="*/ 280988 w 1081087"/>
                <a:gd name="connsiteY1" fmla="*/ 1313879 h 1877949"/>
                <a:gd name="connsiteX2" fmla="*/ 272986 w 1081087"/>
                <a:gd name="connsiteY2" fmla="*/ 1463707 h 1877949"/>
                <a:gd name="connsiteX3" fmla="*/ 588740 w 1081087"/>
                <a:gd name="connsiteY3" fmla="*/ 1877949 h 1877949"/>
                <a:gd name="connsiteX4" fmla="*/ 1049941 w 1081087"/>
                <a:gd name="connsiteY4" fmla="*/ 1685258 h 1877949"/>
                <a:gd name="connsiteX5" fmla="*/ 1081088 w 1081087"/>
                <a:gd name="connsiteY5" fmla="*/ 1313879 h 1877949"/>
                <a:gd name="connsiteX6" fmla="*/ 643604 w 1081087"/>
                <a:gd name="connsiteY6" fmla="*/ 0 h 1877949"/>
                <a:gd name="connsiteX7" fmla="*/ 499586 w 1081087"/>
                <a:gd name="connsiteY7" fmla="*/ 491680 h 1877949"/>
                <a:gd name="connsiteX8" fmla="*/ 0 w 1081087"/>
                <a:gd name="connsiteY8" fmla="*/ 477012 h 18779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81087" h="1877949">
                  <a:moveTo>
                    <a:pt x="0" y="477012"/>
                  </a:moveTo>
                  <a:cubicBezTo>
                    <a:pt x="181737" y="717328"/>
                    <a:pt x="280988" y="1011364"/>
                    <a:pt x="280988" y="1313879"/>
                  </a:cubicBezTo>
                  <a:cubicBezTo>
                    <a:pt x="280988" y="1363885"/>
                    <a:pt x="278321" y="1414177"/>
                    <a:pt x="272986" y="1463707"/>
                  </a:cubicBezTo>
                  <a:lnTo>
                    <a:pt x="588740" y="1877949"/>
                  </a:lnTo>
                  <a:lnTo>
                    <a:pt x="1049941" y="1685258"/>
                  </a:lnTo>
                  <a:cubicBezTo>
                    <a:pt x="1070610" y="1563624"/>
                    <a:pt x="1081088" y="1438751"/>
                    <a:pt x="1081088" y="1313879"/>
                  </a:cubicBezTo>
                  <a:cubicBezTo>
                    <a:pt x="1081088" y="832390"/>
                    <a:pt x="930116" y="379762"/>
                    <a:pt x="643604" y="0"/>
                  </a:cubicBezTo>
                  <a:lnTo>
                    <a:pt x="499586" y="491680"/>
                  </a:lnTo>
                  <a:lnTo>
                    <a:pt x="0" y="47701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</p:grpSp>
      <p:sp>
        <p:nvSpPr>
          <p:cNvPr id="16" name="Textfeld 7">
            <a:extLst>
              <a:ext uri="{FF2B5EF4-FFF2-40B4-BE49-F238E27FC236}">
                <a16:creationId xmlns:a16="http://schemas.microsoft.com/office/drawing/2014/main" id="{49B3783A-6AD8-277F-96D0-6793D2BD97A5}"/>
              </a:ext>
            </a:extLst>
          </p:cNvPr>
          <p:cNvSpPr txBox="1">
            <a:spLocks/>
          </p:cNvSpPr>
          <p:nvPr/>
        </p:nvSpPr>
        <p:spPr>
          <a:xfrm rot="20259816">
            <a:off x="8203209" y="4038044"/>
            <a:ext cx="1903970" cy="1903302"/>
          </a:xfrm>
          <a:prstGeom prst="rect">
            <a:avLst/>
          </a:prstGeom>
          <a:noFill/>
        </p:spPr>
        <p:txBody>
          <a:bodyPr spcFirstLastPara="1" wrap="none" lIns="0" tIns="0" rIns="0" bIns="0" numCol="1" rtlCol="0" anchor="ctr">
            <a:prstTxWarp prst="textArchUp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1A7449"/>
              </a:buClr>
              <a:buSzPct val="80000"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理想品牌字体 2022"/>
                <a:ea typeface="Verdana" pitchFamily="34" charset="0"/>
                <a:cs typeface="Verdana" pitchFamily="34" charset="0"/>
              </a:rPr>
              <a:t>Lorem</a:t>
            </a:r>
          </a:p>
        </p:txBody>
      </p:sp>
      <p:sp>
        <p:nvSpPr>
          <p:cNvPr id="17" name="Textfeld 6">
            <a:extLst>
              <a:ext uri="{FF2B5EF4-FFF2-40B4-BE49-F238E27FC236}">
                <a16:creationId xmlns:a16="http://schemas.microsoft.com/office/drawing/2014/main" id="{9A7166E2-7745-A70B-3732-17A2D4A7CD05}"/>
              </a:ext>
            </a:extLst>
          </p:cNvPr>
          <p:cNvSpPr txBox="1">
            <a:spLocks/>
          </p:cNvSpPr>
          <p:nvPr/>
        </p:nvSpPr>
        <p:spPr>
          <a:xfrm rot="17258901">
            <a:off x="8182306" y="3976601"/>
            <a:ext cx="1903970" cy="1903303"/>
          </a:xfrm>
          <a:prstGeom prst="rect">
            <a:avLst/>
          </a:prstGeom>
          <a:noFill/>
        </p:spPr>
        <p:txBody>
          <a:bodyPr spcFirstLastPara="1" wrap="none" lIns="0" tIns="0" rIns="0" bIns="0" numCol="1" rtlCol="0" anchor="ctr">
            <a:prstTxWarp prst="textArchUp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1A7449"/>
              </a:buClr>
              <a:buSzPct val="80000"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Verdana" pitchFamily="34" charset="0"/>
                <a:cs typeface="Verdana" pitchFamily="34" charset="0"/>
              </a:rPr>
              <a:t>Lorem</a:t>
            </a:r>
          </a:p>
        </p:txBody>
      </p:sp>
      <p:sp>
        <p:nvSpPr>
          <p:cNvPr id="18" name="Textfeld 2">
            <a:extLst>
              <a:ext uri="{FF2B5EF4-FFF2-40B4-BE49-F238E27FC236}">
                <a16:creationId xmlns:a16="http://schemas.microsoft.com/office/drawing/2014/main" id="{D68A4609-2F28-DB73-0493-88C018B5AB5D}"/>
              </a:ext>
            </a:extLst>
          </p:cNvPr>
          <p:cNvSpPr txBox="1">
            <a:spLocks/>
          </p:cNvSpPr>
          <p:nvPr/>
        </p:nvSpPr>
        <p:spPr>
          <a:xfrm rot="4826811">
            <a:off x="8182306" y="3976600"/>
            <a:ext cx="1903970" cy="1903303"/>
          </a:xfrm>
          <a:prstGeom prst="rect">
            <a:avLst/>
          </a:prstGeom>
          <a:noFill/>
        </p:spPr>
        <p:txBody>
          <a:bodyPr spcFirstLastPara="1" wrap="none" lIns="0" tIns="0" rIns="0" bIns="0" numCol="1" rtlCol="0" anchor="ctr">
            <a:prstTxWarp prst="textArchUp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1A7449"/>
              </a:buClr>
              <a:buSzPct val="80000"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Verdana" pitchFamily="34" charset="0"/>
                <a:cs typeface="Verdana" pitchFamily="34" charset="0"/>
              </a:rPr>
              <a:t>Lorem</a:t>
            </a:r>
          </a:p>
        </p:txBody>
      </p:sp>
      <p:sp>
        <p:nvSpPr>
          <p:cNvPr id="19" name="Textfeld 5">
            <a:extLst>
              <a:ext uri="{FF2B5EF4-FFF2-40B4-BE49-F238E27FC236}">
                <a16:creationId xmlns:a16="http://schemas.microsoft.com/office/drawing/2014/main" id="{F7857DE9-0C01-6473-ACF5-DE51F8B1F8B4}"/>
              </a:ext>
            </a:extLst>
          </p:cNvPr>
          <p:cNvSpPr txBox="1">
            <a:spLocks/>
          </p:cNvSpPr>
          <p:nvPr/>
        </p:nvSpPr>
        <p:spPr>
          <a:xfrm rot="3337218">
            <a:off x="8226861" y="4021139"/>
            <a:ext cx="1814859" cy="1814223"/>
          </a:xfrm>
          <a:prstGeom prst="rect">
            <a:avLst/>
          </a:prstGeom>
          <a:noFill/>
        </p:spPr>
        <p:txBody>
          <a:bodyPr spcFirstLastPara="1" wrap="none" lIns="0" tIns="0" rIns="0" bIns="0" numCol="1" rtlCol="0" anchor="ctr">
            <a:prstTxWarp prst="textArchDown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1A7449"/>
              </a:buClr>
              <a:buSzPct val="80000"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Verdana" pitchFamily="34" charset="0"/>
                <a:cs typeface="Verdana" pitchFamily="34" charset="0"/>
              </a:rPr>
              <a:t>Lorem</a:t>
            </a:r>
          </a:p>
        </p:txBody>
      </p:sp>
      <p:sp>
        <p:nvSpPr>
          <p:cNvPr id="20" name="Textfeld 4">
            <a:extLst>
              <a:ext uri="{FF2B5EF4-FFF2-40B4-BE49-F238E27FC236}">
                <a16:creationId xmlns:a16="http://schemas.microsoft.com/office/drawing/2014/main" id="{2C07A4EA-5B9E-693B-2584-EAEA75207174}"/>
              </a:ext>
            </a:extLst>
          </p:cNvPr>
          <p:cNvSpPr txBox="1">
            <a:spLocks/>
          </p:cNvSpPr>
          <p:nvPr/>
        </p:nvSpPr>
        <p:spPr>
          <a:xfrm rot="177227">
            <a:off x="8226860" y="4021141"/>
            <a:ext cx="1814860" cy="1814222"/>
          </a:xfrm>
          <a:prstGeom prst="rect">
            <a:avLst/>
          </a:prstGeom>
          <a:noFill/>
        </p:spPr>
        <p:txBody>
          <a:bodyPr spcFirstLastPara="1" wrap="none" lIns="0" tIns="0" rIns="0" bIns="0" numCol="1" rtlCol="0" anchor="ctr">
            <a:prstTxWarp prst="textArchDown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1A7449"/>
              </a:buClr>
              <a:buSzPct val="80000"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Verdana" pitchFamily="34" charset="0"/>
                <a:cs typeface="Verdana" pitchFamily="34" charset="0"/>
              </a:rPr>
              <a:t>Lorem</a:t>
            </a:r>
          </a:p>
        </p:txBody>
      </p:sp>
      <p:sp>
        <p:nvSpPr>
          <p:cNvPr id="21" name="Textfeld 3">
            <a:extLst>
              <a:ext uri="{FF2B5EF4-FFF2-40B4-BE49-F238E27FC236}">
                <a16:creationId xmlns:a16="http://schemas.microsoft.com/office/drawing/2014/main" id="{6D353703-D96C-55B0-937C-FC4A357750D0}"/>
              </a:ext>
            </a:extLst>
          </p:cNvPr>
          <p:cNvSpPr txBox="1">
            <a:spLocks/>
          </p:cNvSpPr>
          <p:nvPr/>
        </p:nvSpPr>
        <p:spPr>
          <a:xfrm rot="18702584">
            <a:off x="8226861" y="4021139"/>
            <a:ext cx="1814859" cy="1814223"/>
          </a:xfrm>
          <a:prstGeom prst="rect">
            <a:avLst/>
          </a:prstGeom>
          <a:noFill/>
        </p:spPr>
        <p:txBody>
          <a:bodyPr spcFirstLastPara="1" wrap="none" lIns="0" tIns="0" rIns="0" bIns="0" numCol="1" rtlCol="0" anchor="ctr">
            <a:prstTxWarp prst="textArchDown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1A7449"/>
              </a:buClr>
              <a:buSzPct val="80000"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Verdana" pitchFamily="34" charset="0"/>
                <a:cs typeface="Verdana" pitchFamily="34" charset="0"/>
              </a:rPr>
              <a:t>Lorem</a:t>
            </a:r>
          </a:p>
        </p:txBody>
      </p:sp>
      <p:grpSp>
        <p:nvGrpSpPr>
          <p:cNvPr id="22" name="Gruppieren 114">
            <a:extLst>
              <a:ext uri="{FF2B5EF4-FFF2-40B4-BE49-F238E27FC236}">
                <a16:creationId xmlns:a16="http://schemas.microsoft.com/office/drawing/2014/main" id="{3228F128-B330-AE27-D720-9D3FD137E5D3}"/>
              </a:ext>
            </a:extLst>
          </p:cNvPr>
          <p:cNvGrpSpPr>
            <a:grpSpLocks/>
          </p:cNvGrpSpPr>
          <p:nvPr/>
        </p:nvGrpSpPr>
        <p:grpSpPr>
          <a:xfrm>
            <a:off x="4956069" y="3752213"/>
            <a:ext cx="2307139" cy="2306315"/>
            <a:chOff x="3905250" y="1238250"/>
            <a:chExt cx="4378546" cy="4378832"/>
          </a:xfrm>
          <a:solidFill>
            <a:schemeClr val="bg2"/>
          </a:solidFill>
        </p:grpSpPr>
        <p:sp>
          <p:nvSpPr>
            <p:cNvPr id="23" name="Freihandform: Form 108">
              <a:extLst>
                <a:ext uri="{FF2B5EF4-FFF2-40B4-BE49-F238E27FC236}">
                  <a16:creationId xmlns:a16="http://schemas.microsoft.com/office/drawing/2014/main" id="{4BA87316-8EDE-14DC-4865-C14ADC84783A}"/>
                </a:ext>
              </a:extLst>
            </p:cNvPr>
            <p:cNvSpPr>
              <a:spLocks/>
            </p:cNvSpPr>
            <p:nvPr/>
          </p:nvSpPr>
          <p:spPr>
            <a:xfrm>
              <a:off x="7284053" y="2303240"/>
              <a:ext cx="999743" cy="2106644"/>
            </a:xfrm>
            <a:custGeom>
              <a:avLst/>
              <a:gdLst>
                <a:gd name="connsiteX0" fmla="*/ 690181 w 999743"/>
                <a:gd name="connsiteY0" fmla="*/ 95 h 2106644"/>
                <a:gd name="connsiteX1" fmla="*/ 495586 w 999743"/>
                <a:gd name="connsiteY1" fmla="*/ 473964 h 2106644"/>
                <a:gd name="connsiteX2" fmla="*/ 0 w 999743"/>
                <a:gd name="connsiteY2" fmla="*/ 407194 h 2106644"/>
                <a:gd name="connsiteX3" fmla="*/ 199739 w 999743"/>
                <a:gd name="connsiteY3" fmla="*/ 1124331 h 2106644"/>
                <a:gd name="connsiteX4" fmla="*/ 106204 w 999743"/>
                <a:gd name="connsiteY4" fmla="*/ 1625346 h 2106644"/>
                <a:gd name="connsiteX5" fmla="*/ 303847 w 999743"/>
                <a:gd name="connsiteY5" fmla="*/ 2106645 h 2106644"/>
                <a:gd name="connsiteX6" fmla="*/ 800481 w 999743"/>
                <a:gd name="connsiteY6" fmla="*/ 2039684 h 2106644"/>
                <a:gd name="connsiteX7" fmla="*/ 999744 w 999743"/>
                <a:gd name="connsiteY7" fmla="*/ 1124236 h 2106644"/>
                <a:gd name="connsiteX8" fmla="*/ 690086 w 999743"/>
                <a:gd name="connsiteY8" fmla="*/ 0 h 21066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99743" h="2106644">
                  <a:moveTo>
                    <a:pt x="690181" y="95"/>
                  </a:moveTo>
                  <a:lnTo>
                    <a:pt x="495586" y="473964"/>
                  </a:lnTo>
                  <a:lnTo>
                    <a:pt x="0" y="407194"/>
                  </a:lnTo>
                  <a:cubicBezTo>
                    <a:pt x="130969" y="623507"/>
                    <a:pt x="199739" y="869728"/>
                    <a:pt x="199739" y="1124331"/>
                  </a:cubicBezTo>
                  <a:cubicBezTo>
                    <a:pt x="199739" y="1297210"/>
                    <a:pt x="168307" y="1465707"/>
                    <a:pt x="106204" y="1625346"/>
                  </a:cubicBezTo>
                  <a:lnTo>
                    <a:pt x="303847" y="2106645"/>
                  </a:lnTo>
                  <a:lnTo>
                    <a:pt x="800481" y="2039684"/>
                  </a:lnTo>
                  <a:cubicBezTo>
                    <a:pt x="932688" y="1752790"/>
                    <a:pt x="999744" y="1444943"/>
                    <a:pt x="999744" y="1124236"/>
                  </a:cubicBezTo>
                  <a:cubicBezTo>
                    <a:pt x="999744" y="724853"/>
                    <a:pt x="892873" y="337757"/>
                    <a:pt x="690086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24" name="Freihandform: Form 109">
              <a:extLst>
                <a:ext uri="{FF2B5EF4-FFF2-40B4-BE49-F238E27FC236}">
                  <a16:creationId xmlns:a16="http://schemas.microsoft.com/office/drawing/2014/main" id="{71BFF403-AE91-B0E6-0978-5105CDB283BF}"/>
                </a:ext>
              </a:extLst>
            </p:cNvPr>
            <p:cNvSpPr>
              <a:spLocks/>
            </p:cNvSpPr>
            <p:nvPr/>
          </p:nvSpPr>
          <p:spPr>
            <a:xfrm>
              <a:off x="4176617" y="1246917"/>
              <a:ext cx="2032158" cy="1501044"/>
            </a:xfrm>
            <a:custGeom>
              <a:avLst/>
              <a:gdLst>
                <a:gd name="connsiteX0" fmla="*/ 522351 w 2032158"/>
                <a:gd name="connsiteY0" fmla="*/ 1052417 h 1501044"/>
                <a:gd name="connsiteX1" fmla="*/ 706565 w 2032158"/>
                <a:gd name="connsiteY1" fmla="*/ 1501045 h 1501044"/>
                <a:gd name="connsiteX2" fmla="*/ 1720596 w 2032158"/>
                <a:gd name="connsiteY2" fmla="*/ 805339 h 1501044"/>
                <a:gd name="connsiteX3" fmla="*/ 2032159 w 2032158"/>
                <a:gd name="connsiteY3" fmla="*/ 401955 h 1501044"/>
                <a:gd name="connsiteX4" fmla="*/ 1721644 w 2032158"/>
                <a:gd name="connsiteY4" fmla="*/ 0 h 1501044"/>
                <a:gd name="connsiteX5" fmla="*/ 369856 w 2032158"/>
                <a:gd name="connsiteY5" fmla="*/ 632555 h 1501044"/>
                <a:gd name="connsiteX6" fmla="*/ 0 w 2032158"/>
                <a:gd name="connsiteY6" fmla="*/ 1122902 h 1501044"/>
                <a:gd name="connsiteX7" fmla="*/ 522351 w 2032158"/>
                <a:gd name="connsiteY7" fmla="*/ 1052513 h 15010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32158" h="1501044">
                  <a:moveTo>
                    <a:pt x="522351" y="1052417"/>
                  </a:moveTo>
                  <a:lnTo>
                    <a:pt x="706565" y="1501045"/>
                  </a:lnTo>
                  <a:cubicBezTo>
                    <a:pt x="918401" y="1123664"/>
                    <a:pt x="1291114" y="866680"/>
                    <a:pt x="1720596" y="805339"/>
                  </a:cubicBezTo>
                  <a:lnTo>
                    <a:pt x="2032159" y="401955"/>
                  </a:lnTo>
                  <a:lnTo>
                    <a:pt x="1721644" y="0"/>
                  </a:lnTo>
                  <a:cubicBezTo>
                    <a:pt x="1212723" y="45053"/>
                    <a:pt x="733330" y="269177"/>
                    <a:pt x="369856" y="632555"/>
                  </a:cubicBezTo>
                  <a:cubicBezTo>
                    <a:pt x="223076" y="779336"/>
                    <a:pt x="98869" y="944023"/>
                    <a:pt x="0" y="1122902"/>
                  </a:cubicBezTo>
                  <a:lnTo>
                    <a:pt x="522351" y="1052513"/>
                  </a:ln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25" name="Freihandform: Form 110">
              <a:extLst>
                <a:ext uri="{FF2B5EF4-FFF2-40B4-BE49-F238E27FC236}">
                  <a16:creationId xmlns:a16="http://schemas.microsoft.com/office/drawing/2014/main" id="{0F38E743-1D8B-6BE6-5194-FC2441B6C592}"/>
                </a:ext>
              </a:extLst>
            </p:cNvPr>
            <p:cNvSpPr>
              <a:spLocks/>
            </p:cNvSpPr>
            <p:nvPr/>
          </p:nvSpPr>
          <p:spPr>
            <a:xfrm>
              <a:off x="6060186" y="1238250"/>
              <a:ext cx="1825561" cy="1393031"/>
            </a:xfrm>
            <a:custGeom>
              <a:avLst/>
              <a:gdLst>
                <a:gd name="connsiteX0" fmla="*/ 16192 w 1825561"/>
                <a:gd name="connsiteY0" fmla="*/ 800195 h 1393031"/>
                <a:gd name="connsiteX1" fmla="*/ 34385 w 1825561"/>
                <a:gd name="connsiteY1" fmla="*/ 800100 h 1393031"/>
                <a:gd name="connsiteX2" fmla="*/ 1120235 w 1825561"/>
                <a:gd name="connsiteY2" fmla="*/ 1323594 h 1393031"/>
                <a:gd name="connsiteX3" fmla="*/ 1635157 w 1825561"/>
                <a:gd name="connsiteY3" fmla="*/ 1393031 h 1393031"/>
                <a:gd name="connsiteX4" fmla="*/ 1825561 w 1825561"/>
                <a:gd name="connsiteY4" fmla="*/ 929354 h 1393031"/>
                <a:gd name="connsiteX5" fmla="*/ 1582484 w 1825561"/>
                <a:gd name="connsiteY5" fmla="*/ 641223 h 1393031"/>
                <a:gd name="connsiteX6" fmla="*/ 34385 w 1825561"/>
                <a:gd name="connsiteY6" fmla="*/ 0 h 1393031"/>
                <a:gd name="connsiteX7" fmla="*/ 0 w 1825561"/>
                <a:gd name="connsiteY7" fmla="*/ 286 h 1393031"/>
                <a:gd name="connsiteX8" fmla="*/ 317087 w 1825561"/>
                <a:gd name="connsiteY8" fmla="*/ 410718 h 1393031"/>
                <a:gd name="connsiteX9" fmla="*/ 16192 w 1825561"/>
                <a:gd name="connsiteY9" fmla="*/ 800195 h 13930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825561" h="1393031">
                  <a:moveTo>
                    <a:pt x="16192" y="800195"/>
                  </a:moveTo>
                  <a:cubicBezTo>
                    <a:pt x="22288" y="800195"/>
                    <a:pt x="28384" y="800100"/>
                    <a:pt x="34385" y="800100"/>
                  </a:cubicBezTo>
                  <a:cubicBezTo>
                    <a:pt x="459581" y="800100"/>
                    <a:pt x="854488" y="990695"/>
                    <a:pt x="1120235" y="1323594"/>
                  </a:cubicBezTo>
                  <a:lnTo>
                    <a:pt x="1635157" y="1393031"/>
                  </a:lnTo>
                  <a:lnTo>
                    <a:pt x="1825561" y="929354"/>
                  </a:lnTo>
                  <a:cubicBezTo>
                    <a:pt x="1753457" y="827342"/>
                    <a:pt x="1671733" y="730472"/>
                    <a:pt x="1582484" y="641223"/>
                  </a:cubicBezTo>
                  <a:cubicBezTo>
                    <a:pt x="1168908" y="227743"/>
                    <a:pt x="619125" y="0"/>
                    <a:pt x="34385" y="0"/>
                  </a:cubicBezTo>
                  <a:cubicBezTo>
                    <a:pt x="22860" y="0"/>
                    <a:pt x="11430" y="0"/>
                    <a:pt x="0" y="286"/>
                  </a:cubicBezTo>
                  <a:lnTo>
                    <a:pt x="317087" y="410718"/>
                  </a:lnTo>
                  <a:lnTo>
                    <a:pt x="16192" y="80019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26" name="Freihandform: Form 111">
              <a:extLst>
                <a:ext uri="{FF2B5EF4-FFF2-40B4-BE49-F238E27FC236}">
                  <a16:creationId xmlns:a16="http://schemas.microsoft.com/office/drawing/2014/main" id="{65F8A960-7BE4-6CE3-59A2-79DB3A146747}"/>
                </a:ext>
              </a:extLst>
            </p:cNvPr>
            <p:cNvSpPr>
              <a:spLocks/>
            </p:cNvSpPr>
            <p:nvPr/>
          </p:nvSpPr>
          <p:spPr>
            <a:xfrm>
              <a:off x="5993891" y="4093273"/>
              <a:ext cx="2017490" cy="1513903"/>
            </a:xfrm>
            <a:custGeom>
              <a:avLst/>
              <a:gdLst>
                <a:gd name="connsiteX0" fmla="*/ 1509808 w 2017490"/>
                <a:gd name="connsiteY0" fmla="*/ 462534 h 1513903"/>
                <a:gd name="connsiteX1" fmla="*/ 1319879 w 2017490"/>
                <a:gd name="connsiteY1" fmla="*/ 0 h 1513903"/>
                <a:gd name="connsiteX2" fmla="*/ 313277 w 2017490"/>
                <a:gd name="connsiteY2" fmla="*/ 707327 h 1513903"/>
                <a:gd name="connsiteX3" fmla="*/ 0 w 2017490"/>
                <a:gd name="connsiteY3" fmla="*/ 1112996 h 1513903"/>
                <a:gd name="connsiteX4" fmla="*/ 309658 w 2017490"/>
                <a:gd name="connsiteY4" fmla="*/ 1513904 h 1513903"/>
                <a:gd name="connsiteX5" fmla="*/ 1648682 w 2017490"/>
                <a:gd name="connsiteY5" fmla="*/ 882396 h 1513903"/>
                <a:gd name="connsiteX6" fmla="*/ 2017490 w 2017490"/>
                <a:gd name="connsiteY6" fmla="*/ 394049 h 1513903"/>
                <a:gd name="connsiteX7" fmla="*/ 1509713 w 2017490"/>
                <a:gd name="connsiteY7" fmla="*/ 462439 h 15139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17490" h="1513903">
                  <a:moveTo>
                    <a:pt x="1509808" y="462534"/>
                  </a:moveTo>
                  <a:lnTo>
                    <a:pt x="1319879" y="0"/>
                  </a:lnTo>
                  <a:cubicBezTo>
                    <a:pt x="1112234" y="380048"/>
                    <a:pt x="742283" y="641318"/>
                    <a:pt x="313277" y="707327"/>
                  </a:cubicBezTo>
                  <a:lnTo>
                    <a:pt x="0" y="1112996"/>
                  </a:lnTo>
                  <a:lnTo>
                    <a:pt x="309658" y="1513904"/>
                  </a:lnTo>
                  <a:cubicBezTo>
                    <a:pt x="813626" y="1466374"/>
                    <a:pt x="1288447" y="1242632"/>
                    <a:pt x="1648682" y="882396"/>
                  </a:cubicBezTo>
                  <a:cubicBezTo>
                    <a:pt x="1794796" y="736283"/>
                    <a:pt x="1918621" y="572262"/>
                    <a:pt x="2017490" y="394049"/>
                  </a:cubicBezTo>
                  <a:lnTo>
                    <a:pt x="1509713" y="46243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27" name="Freihandform: Form 112">
              <a:extLst>
                <a:ext uri="{FF2B5EF4-FFF2-40B4-BE49-F238E27FC236}">
                  <a16:creationId xmlns:a16="http://schemas.microsoft.com/office/drawing/2014/main" id="{FAD8F5C2-0AEB-1ACD-FE2C-14CD95953659}"/>
                </a:ext>
              </a:extLst>
            </p:cNvPr>
            <p:cNvSpPr>
              <a:spLocks/>
            </p:cNvSpPr>
            <p:nvPr/>
          </p:nvSpPr>
          <p:spPr>
            <a:xfrm>
              <a:off x="4312062" y="4223956"/>
              <a:ext cx="1830133" cy="1393126"/>
            </a:xfrm>
            <a:custGeom>
              <a:avLst/>
              <a:gdLst>
                <a:gd name="connsiteX0" fmla="*/ 1513427 w 1830133"/>
                <a:gd name="connsiteY0" fmla="*/ 982313 h 1393126"/>
                <a:gd name="connsiteX1" fmla="*/ 1814322 w 1830133"/>
                <a:gd name="connsiteY1" fmla="*/ 592550 h 1393126"/>
                <a:gd name="connsiteX2" fmla="*/ 1782509 w 1830133"/>
                <a:gd name="connsiteY2" fmla="*/ 592931 h 1393126"/>
                <a:gd name="connsiteX3" fmla="*/ 695135 w 1830133"/>
                <a:gd name="connsiteY3" fmla="*/ 67342 h 1393126"/>
                <a:gd name="connsiteX4" fmla="*/ 195263 w 1830133"/>
                <a:gd name="connsiteY4" fmla="*/ 0 h 1393126"/>
                <a:gd name="connsiteX5" fmla="*/ 0 w 1830133"/>
                <a:gd name="connsiteY5" fmla="*/ 475583 h 1393126"/>
                <a:gd name="connsiteX6" fmla="*/ 234410 w 1830133"/>
                <a:gd name="connsiteY6" fmla="*/ 751809 h 1393126"/>
                <a:gd name="connsiteX7" fmla="*/ 1782509 w 1830133"/>
                <a:gd name="connsiteY7" fmla="*/ 1393127 h 1393126"/>
                <a:gd name="connsiteX8" fmla="*/ 1830134 w 1830133"/>
                <a:gd name="connsiteY8" fmla="*/ 1392651 h 1393126"/>
                <a:gd name="connsiteX9" fmla="*/ 1513332 w 1830133"/>
                <a:gd name="connsiteY9" fmla="*/ 982504 h 13931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830133" h="1393126">
                  <a:moveTo>
                    <a:pt x="1513427" y="982313"/>
                  </a:moveTo>
                  <a:lnTo>
                    <a:pt x="1814322" y="592550"/>
                  </a:lnTo>
                  <a:cubicBezTo>
                    <a:pt x="1803654" y="592836"/>
                    <a:pt x="1793081" y="592931"/>
                    <a:pt x="1782509" y="592931"/>
                  </a:cubicBezTo>
                  <a:cubicBezTo>
                    <a:pt x="1356360" y="592931"/>
                    <a:pt x="960882" y="401574"/>
                    <a:pt x="695135" y="67342"/>
                  </a:cubicBezTo>
                  <a:lnTo>
                    <a:pt x="195263" y="0"/>
                  </a:lnTo>
                  <a:lnTo>
                    <a:pt x="0" y="475583"/>
                  </a:lnTo>
                  <a:cubicBezTo>
                    <a:pt x="69723" y="573024"/>
                    <a:pt x="148495" y="665893"/>
                    <a:pt x="234410" y="751809"/>
                  </a:cubicBezTo>
                  <a:cubicBezTo>
                    <a:pt x="647986" y="1165384"/>
                    <a:pt x="1197769" y="1393127"/>
                    <a:pt x="1782509" y="1393127"/>
                  </a:cubicBezTo>
                  <a:cubicBezTo>
                    <a:pt x="1798320" y="1393127"/>
                    <a:pt x="1814227" y="1392936"/>
                    <a:pt x="1830134" y="1392651"/>
                  </a:cubicBezTo>
                  <a:lnTo>
                    <a:pt x="1513332" y="98250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28" name="Freihandform: Form 113">
              <a:extLst>
                <a:ext uri="{FF2B5EF4-FFF2-40B4-BE49-F238E27FC236}">
                  <a16:creationId xmlns:a16="http://schemas.microsoft.com/office/drawing/2014/main" id="{99701984-AC33-F69F-8C69-66EBBF185B13}"/>
                </a:ext>
              </a:extLst>
            </p:cNvPr>
            <p:cNvSpPr>
              <a:spLocks/>
            </p:cNvSpPr>
            <p:nvPr/>
          </p:nvSpPr>
          <p:spPr>
            <a:xfrm>
              <a:off x="3905250" y="2445258"/>
              <a:ext cx="998696" cy="2119979"/>
            </a:xfrm>
            <a:custGeom>
              <a:avLst/>
              <a:gdLst>
                <a:gd name="connsiteX0" fmla="*/ 517779 w 998696"/>
                <a:gd name="connsiteY0" fmla="*/ 1632776 h 2119979"/>
                <a:gd name="connsiteX1" fmla="*/ 998696 w 998696"/>
                <a:gd name="connsiteY1" fmla="*/ 1697546 h 2119979"/>
                <a:gd name="connsiteX2" fmla="*/ 800100 w 998696"/>
                <a:gd name="connsiteY2" fmla="*/ 982218 h 2119979"/>
                <a:gd name="connsiteX3" fmla="*/ 900208 w 998696"/>
                <a:gd name="connsiteY3" fmla="*/ 464439 h 2119979"/>
                <a:gd name="connsiteX4" fmla="*/ 709517 w 998696"/>
                <a:gd name="connsiteY4" fmla="*/ 0 h 2119979"/>
                <a:gd name="connsiteX5" fmla="*/ 198406 w 998696"/>
                <a:gd name="connsiteY5" fmla="*/ 68866 h 2119979"/>
                <a:gd name="connsiteX6" fmla="*/ 0 w 998696"/>
                <a:gd name="connsiteY6" fmla="*/ 982313 h 2119979"/>
                <a:gd name="connsiteX7" fmla="*/ 317754 w 998696"/>
                <a:gd name="connsiteY7" fmla="*/ 2119979 h 2119979"/>
                <a:gd name="connsiteX8" fmla="*/ 517874 w 998696"/>
                <a:gd name="connsiteY8" fmla="*/ 1632871 h 21199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98696" h="2119979">
                  <a:moveTo>
                    <a:pt x="517779" y="1632776"/>
                  </a:moveTo>
                  <a:lnTo>
                    <a:pt x="998696" y="1697546"/>
                  </a:lnTo>
                  <a:cubicBezTo>
                    <a:pt x="868490" y="1481709"/>
                    <a:pt x="800100" y="1236155"/>
                    <a:pt x="800100" y="982218"/>
                  </a:cubicBezTo>
                  <a:cubicBezTo>
                    <a:pt x="800100" y="803148"/>
                    <a:pt x="833723" y="629031"/>
                    <a:pt x="900208" y="464439"/>
                  </a:cubicBezTo>
                  <a:lnTo>
                    <a:pt x="709517" y="0"/>
                  </a:lnTo>
                  <a:lnTo>
                    <a:pt x="198406" y="68866"/>
                  </a:lnTo>
                  <a:cubicBezTo>
                    <a:pt x="66675" y="355378"/>
                    <a:pt x="0" y="662559"/>
                    <a:pt x="0" y="982313"/>
                  </a:cubicBezTo>
                  <a:cubicBezTo>
                    <a:pt x="0" y="1387221"/>
                    <a:pt x="109633" y="1778984"/>
                    <a:pt x="317754" y="2119979"/>
                  </a:cubicBezTo>
                  <a:lnTo>
                    <a:pt x="517874" y="163287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</p:grpSp>
      <p:sp>
        <p:nvSpPr>
          <p:cNvPr id="29" name="Textfeld 4">
            <a:extLst>
              <a:ext uri="{FF2B5EF4-FFF2-40B4-BE49-F238E27FC236}">
                <a16:creationId xmlns:a16="http://schemas.microsoft.com/office/drawing/2014/main" id="{20A3B892-18F3-5B35-7ECF-0CE8CCED2DF9}"/>
              </a:ext>
            </a:extLst>
          </p:cNvPr>
          <p:cNvSpPr txBox="1">
            <a:spLocks noChangeAspect="1"/>
          </p:cNvSpPr>
          <p:nvPr/>
        </p:nvSpPr>
        <p:spPr>
          <a:xfrm rot="1817076">
            <a:off x="5185653" y="3981384"/>
            <a:ext cx="1847975" cy="1847976"/>
          </a:xfrm>
          <a:prstGeom prst="rect">
            <a:avLst/>
          </a:prstGeom>
          <a:noFill/>
        </p:spPr>
        <p:txBody>
          <a:bodyPr spcFirstLastPara="1" wrap="none" lIns="0" tIns="0" rIns="0" bIns="0" numCol="1" rtlCol="0" anchor="ctr">
            <a:prstTxWarp prst="textArchDown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1A7449"/>
              </a:buClr>
              <a:buSzPct val="80000"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Verdana" pitchFamily="34" charset="0"/>
                <a:cs typeface="Verdana" pitchFamily="34" charset="0"/>
              </a:rPr>
              <a:t>Lorem</a:t>
            </a:r>
          </a:p>
        </p:txBody>
      </p:sp>
      <p:sp>
        <p:nvSpPr>
          <p:cNvPr id="30" name="Textfeld 3">
            <a:extLst>
              <a:ext uri="{FF2B5EF4-FFF2-40B4-BE49-F238E27FC236}">
                <a16:creationId xmlns:a16="http://schemas.microsoft.com/office/drawing/2014/main" id="{8B45B1C5-243B-08DF-9572-6AE79D9C0C17}"/>
              </a:ext>
            </a:extLst>
          </p:cNvPr>
          <p:cNvSpPr txBox="1">
            <a:spLocks noChangeAspect="1"/>
          </p:cNvSpPr>
          <p:nvPr/>
        </p:nvSpPr>
        <p:spPr>
          <a:xfrm rot="19928543">
            <a:off x="5185653" y="3981384"/>
            <a:ext cx="1847975" cy="1847976"/>
          </a:xfrm>
          <a:prstGeom prst="rect">
            <a:avLst/>
          </a:prstGeom>
          <a:noFill/>
        </p:spPr>
        <p:txBody>
          <a:bodyPr spcFirstLastPara="1" wrap="none" lIns="0" tIns="0" rIns="0" bIns="0" numCol="1" rtlCol="0" anchor="ctr">
            <a:prstTxWarp prst="textArchDown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1A7449"/>
              </a:buClr>
              <a:buSzPct val="80000"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Verdana" pitchFamily="34" charset="0"/>
                <a:cs typeface="Verdana" pitchFamily="34" charset="0"/>
              </a:rPr>
              <a:t>Lorem</a:t>
            </a:r>
          </a:p>
        </p:txBody>
      </p:sp>
      <p:sp>
        <p:nvSpPr>
          <p:cNvPr id="31" name="Textfeld 5">
            <a:extLst>
              <a:ext uri="{FF2B5EF4-FFF2-40B4-BE49-F238E27FC236}">
                <a16:creationId xmlns:a16="http://schemas.microsoft.com/office/drawing/2014/main" id="{943252B4-87EB-D1CB-B537-FD8CD5AF76B1}"/>
              </a:ext>
            </a:extLst>
          </p:cNvPr>
          <p:cNvSpPr txBox="1">
            <a:spLocks noChangeAspect="1"/>
          </p:cNvSpPr>
          <p:nvPr/>
        </p:nvSpPr>
        <p:spPr>
          <a:xfrm rot="5642258">
            <a:off x="5185328" y="3981708"/>
            <a:ext cx="1848625" cy="1847327"/>
          </a:xfrm>
          <a:prstGeom prst="rect">
            <a:avLst/>
          </a:prstGeom>
          <a:noFill/>
        </p:spPr>
        <p:txBody>
          <a:bodyPr spcFirstLastPara="1" wrap="none" lIns="0" tIns="0" rIns="0" bIns="0" numCol="1" rtlCol="0" anchor="ctr">
            <a:prstTxWarp prst="textArchDown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1A7449"/>
              </a:buClr>
              <a:buSzPct val="80000"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Verdana" pitchFamily="34" charset="0"/>
                <a:cs typeface="Verdana" pitchFamily="34" charset="0"/>
              </a:rPr>
              <a:t>Lorem</a:t>
            </a:r>
          </a:p>
        </p:txBody>
      </p:sp>
      <p:sp>
        <p:nvSpPr>
          <p:cNvPr id="32" name="Textfeld 2">
            <a:extLst>
              <a:ext uri="{FF2B5EF4-FFF2-40B4-BE49-F238E27FC236}">
                <a16:creationId xmlns:a16="http://schemas.microsoft.com/office/drawing/2014/main" id="{33EB8F1A-7A59-7720-35F3-509C2F88C12B}"/>
              </a:ext>
            </a:extLst>
          </p:cNvPr>
          <p:cNvSpPr txBox="1">
            <a:spLocks noChangeAspect="1"/>
          </p:cNvSpPr>
          <p:nvPr/>
        </p:nvSpPr>
        <p:spPr>
          <a:xfrm rot="16409085">
            <a:off x="5185328" y="3981708"/>
            <a:ext cx="1848625" cy="1847327"/>
          </a:xfrm>
          <a:prstGeom prst="rect">
            <a:avLst/>
          </a:prstGeom>
          <a:noFill/>
        </p:spPr>
        <p:txBody>
          <a:bodyPr spcFirstLastPara="1" wrap="none" lIns="0" tIns="0" rIns="0" bIns="0" numCol="1" rtlCol="0" anchor="ctr">
            <a:prstTxWarp prst="textArchDown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1A7449"/>
              </a:buClr>
              <a:buSzPct val="80000"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Verdana" pitchFamily="34" charset="0"/>
                <a:cs typeface="Verdana" pitchFamily="34" charset="0"/>
              </a:rPr>
              <a:t>Lorem</a:t>
            </a:r>
          </a:p>
        </p:txBody>
      </p:sp>
      <p:sp>
        <p:nvSpPr>
          <p:cNvPr id="33" name="Textfeld 6">
            <a:extLst>
              <a:ext uri="{FF2B5EF4-FFF2-40B4-BE49-F238E27FC236}">
                <a16:creationId xmlns:a16="http://schemas.microsoft.com/office/drawing/2014/main" id="{C8F454BA-E017-EB8F-D1D0-03AFD6F200D3}"/>
              </a:ext>
            </a:extLst>
          </p:cNvPr>
          <p:cNvSpPr txBox="1">
            <a:spLocks noChangeAspect="1"/>
          </p:cNvSpPr>
          <p:nvPr/>
        </p:nvSpPr>
        <p:spPr>
          <a:xfrm rot="20025878">
            <a:off x="5117842" y="4090403"/>
            <a:ext cx="1447961" cy="1447962"/>
          </a:xfrm>
          <a:prstGeom prst="rect">
            <a:avLst/>
          </a:prstGeom>
          <a:noFill/>
        </p:spPr>
        <p:txBody>
          <a:bodyPr spcFirstLastPara="1" wrap="none" lIns="0" tIns="0" rIns="0" bIns="0" numCol="1" rtlCol="0" anchor="ctr">
            <a:prstTxWarp prst="textArchUp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1A7449"/>
              </a:buClr>
              <a:buSzPct val="80000"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理想品牌字体 2022"/>
                <a:ea typeface="Verdana" pitchFamily="34" charset="0"/>
                <a:cs typeface="Verdana" pitchFamily="34" charset="0"/>
              </a:rPr>
              <a:t>Lorem</a:t>
            </a:r>
          </a:p>
        </p:txBody>
      </p:sp>
      <p:sp>
        <p:nvSpPr>
          <p:cNvPr id="34" name="Textfeld 1">
            <a:extLst>
              <a:ext uri="{FF2B5EF4-FFF2-40B4-BE49-F238E27FC236}">
                <a16:creationId xmlns:a16="http://schemas.microsoft.com/office/drawing/2014/main" id="{EE1AEEB6-51BC-91C1-5BD6-67D7B4B2848C}"/>
              </a:ext>
            </a:extLst>
          </p:cNvPr>
          <p:cNvSpPr txBox="1">
            <a:spLocks noChangeAspect="1"/>
          </p:cNvSpPr>
          <p:nvPr/>
        </p:nvSpPr>
        <p:spPr>
          <a:xfrm rot="2040018">
            <a:off x="5213708" y="3928789"/>
            <a:ext cx="1847975" cy="1847976"/>
          </a:xfrm>
          <a:prstGeom prst="rect">
            <a:avLst/>
          </a:prstGeom>
          <a:noFill/>
        </p:spPr>
        <p:txBody>
          <a:bodyPr spcFirstLastPara="1" wrap="none" lIns="0" tIns="0" rIns="0" bIns="0" numCol="1" rtlCol="0" anchor="ctr">
            <a:prstTxWarp prst="textArchUp">
              <a:avLst/>
            </a:prstTxWarp>
            <a:spAutoFit/>
          </a:bodyPr>
          <a:lstStyle/>
          <a:p>
            <a:pPr lvl="0" algn="ctr">
              <a:spcBef>
                <a:spcPts val="400"/>
              </a:spcBef>
              <a:buClr>
                <a:srgbClr val="1A7449"/>
              </a:buClr>
              <a:buSzPct val="80000"/>
              <a:defRPr/>
            </a:pPr>
            <a:r>
              <a:rPr lang="en-US" altLang="zh-CN" sz="1200" dirty="0">
                <a:solidFill>
                  <a:srgbClr val="575757"/>
                </a:solidFill>
                <a:ea typeface="Verdana" pitchFamily="34" charset="0"/>
                <a:cs typeface="Verdana" pitchFamily="34" charset="0"/>
              </a:rPr>
              <a:t>{bullet_12}</a:t>
            </a:r>
          </a:p>
        </p:txBody>
      </p:sp>
      <p:grpSp>
        <p:nvGrpSpPr>
          <p:cNvPr id="35" name="Gruppieren 87">
            <a:extLst>
              <a:ext uri="{FF2B5EF4-FFF2-40B4-BE49-F238E27FC236}">
                <a16:creationId xmlns:a16="http://schemas.microsoft.com/office/drawing/2014/main" id="{D0B2A4CD-4ED5-B757-3A28-B140BD9F2715}"/>
              </a:ext>
            </a:extLst>
          </p:cNvPr>
          <p:cNvGrpSpPr>
            <a:grpSpLocks/>
          </p:cNvGrpSpPr>
          <p:nvPr/>
        </p:nvGrpSpPr>
        <p:grpSpPr>
          <a:xfrm>
            <a:off x="6468404" y="1550919"/>
            <a:ext cx="2307130" cy="2306313"/>
            <a:chOff x="3905250" y="1238250"/>
            <a:chExt cx="4378642" cy="4378832"/>
          </a:xfrm>
          <a:solidFill>
            <a:schemeClr val="bg2"/>
          </a:solidFill>
        </p:grpSpPr>
        <p:sp>
          <p:nvSpPr>
            <p:cNvPr id="36" name="Freihandform: Form 84">
              <a:extLst>
                <a:ext uri="{FF2B5EF4-FFF2-40B4-BE49-F238E27FC236}">
                  <a16:creationId xmlns:a16="http://schemas.microsoft.com/office/drawing/2014/main" id="{35B84EBE-CBAF-7DB4-6AF0-D2E479836DA6}"/>
                </a:ext>
              </a:extLst>
            </p:cNvPr>
            <p:cNvSpPr>
              <a:spLocks/>
            </p:cNvSpPr>
            <p:nvPr/>
          </p:nvSpPr>
          <p:spPr>
            <a:xfrm>
              <a:off x="3905250" y="1246917"/>
              <a:ext cx="2303525" cy="3318319"/>
            </a:xfrm>
            <a:custGeom>
              <a:avLst/>
              <a:gdLst>
                <a:gd name="connsiteX0" fmla="*/ 317754 w 2303525"/>
                <a:gd name="connsiteY0" fmla="*/ 3318320 h 3318319"/>
                <a:gd name="connsiteX1" fmla="*/ 517874 w 2303525"/>
                <a:gd name="connsiteY1" fmla="*/ 2831211 h 3318319"/>
                <a:gd name="connsiteX2" fmla="*/ 998792 w 2303525"/>
                <a:gd name="connsiteY2" fmla="*/ 2895981 h 3318319"/>
                <a:gd name="connsiteX3" fmla="*/ 800195 w 2303525"/>
                <a:gd name="connsiteY3" fmla="*/ 2180654 h 3318319"/>
                <a:gd name="connsiteX4" fmla="*/ 1992059 w 2303525"/>
                <a:gd name="connsiteY4" fmla="*/ 805434 h 3318319"/>
                <a:gd name="connsiteX5" fmla="*/ 2303526 w 2303525"/>
                <a:gd name="connsiteY5" fmla="*/ 402050 h 3318319"/>
                <a:gd name="connsiteX6" fmla="*/ 1993011 w 2303525"/>
                <a:gd name="connsiteY6" fmla="*/ 0 h 3318319"/>
                <a:gd name="connsiteX7" fmla="*/ 641128 w 2303525"/>
                <a:gd name="connsiteY7" fmla="*/ 632555 h 3318319"/>
                <a:gd name="connsiteX8" fmla="*/ 0 w 2303525"/>
                <a:gd name="connsiteY8" fmla="*/ 2180654 h 3318319"/>
                <a:gd name="connsiteX9" fmla="*/ 317754 w 2303525"/>
                <a:gd name="connsiteY9" fmla="*/ 3318320 h 33183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303525" h="3318319">
                  <a:moveTo>
                    <a:pt x="317754" y="3318320"/>
                  </a:moveTo>
                  <a:lnTo>
                    <a:pt x="517874" y="2831211"/>
                  </a:lnTo>
                  <a:lnTo>
                    <a:pt x="998792" y="2895981"/>
                  </a:lnTo>
                  <a:cubicBezTo>
                    <a:pt x="868585" y="2680145"/>
                    <a:pt x="800195" y="2434590"/>
                    <a:pt x="800195" y="2180654"/>
                  </a:cubicBezTo>
                  <a:cubicBezTo>
                    <a:pt x="800195" y="1490948"/>
                    <a:pt x="1311497" y="902589"/>
                    <a:pt x="1992059" y="805434"/>
                  </a:cubicBezTo>
                  <a:lnTo>
                    <a:pt x="2303526" y="402050"/>
                  </a:lnTo>
                  <a:lnTo>
                    <a:pt x="1993011" y="0"/>
                  </a:lnTo>
                  <a:cubicBezTo>
                    <a:pt x="1483995" y="45053"/>
                    <a:pt x="1004602" y="269177"/>
                    <a:pt x="641128" y="632555"/>
                  </a:cubicBezTo>
                  <a:cubicBezTo>
                    <a:pt x="227743" y="1046036"/>
                    <a:pt x="0" y="1595819"/>
                    <a:pt x="0" y="2180654"/>
                  </a:cubicBezTo>
                  <a:cubicBezTo>
                    <a:pt x="0" y="2585561"/>
                    <a:pt x="109633" y="2977325"/>
                    <a:pt x="317754" y="3318320"/>
                  </a:cubicBez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37" name="Freihandform: Form 85">
              <a:extLst>
                <a:ext uri="{FF2B5EF4-FFF2-40B4-BE49-F238E27FC236}">
                  <a16:creationId xmlns:a16="http://schemas.microsoft.com/office/drawing/2014/main" id="{0667F695-2F01-790E-9D46-9A7C9001EEA1}"/>
                </a:ext>
              </a:extLst>
            </p:cNvPr>
            <p:cNvSpPr>
              <a:spLocks/>
            </p:cNvSpPr>
            <p:nvPr/>
          </p:nvSpPr>
          <p:spPr>
            <a:xfrm>
              <a:off x="4312062" y="4093178"/>
              <a:ext cx="3699414" cy="1523904"/>
            </a:xfrm>
            <a:custGeom>
              <a:avLst/>
              <a:gdLst>
                <a:gd name="connsiteX0" fmla="*/ 3191637 w 3699414"/>
                <a:gd name="connsiteY0" fmla="*/ 462629 h 1523904"/>
                <a:gd name="connsiteX1" fmla="*/ 3001709 w 3699414"/>
                <a:gd name="connsiteY1" fmla="*/ 0 h 1523904"/>
                <a:gd name="connsiteX2" fmla="*/ 2536031 w 3699414"/>
                <a:gd name="connsiteY2" fmla="*/ 501205 h 1523904"/>
                <a:gd name="connsiteX3" fmla="*/ 1782509 w 3699414"/>
                <a:gd name="connsiteY3" fmla="*/ 723709 h 1523904"/>
                <a:gd name="connsiteX4" fmla="*/ 695135 w 3699414"/>
                <a:gd name="connsiteY4" fmla="*/ 198120 h 1523904"/>
                <a:gd name="connsiteX5" fmla="*/ 195263 w 3699414"/>
                <a:gd name="connsiteY5" fmla="*/ 130778 h 1523904"/>
                <a:gd name="connsiteX6" fmla="*/ 0 w 3699414"/>
                <a:gd name="connsiteY6" fmla="*/ 606362 h 1523904"/>
                <a:gd name="connsiteX7" fmla="*/ 234410 w 3699414"/>
                <a:gd name="connsiteY7" fmla="*/ 882587 h 1523904"/>
                <a:gd name="connsiteX8" fmla="*/ 1782509 w 3699414"/>
                <a:gd name="connsiteY8" fmla="*/ 1523905 h 1523904"/>
                <a:gd name="connsiteX9" fmla="*/ 3330607 w 3699414"/>
                <a:gd name="connsiteY9" fmla="*/ 882587 h 1523904"/>
                <a:gd name="connsiteX10" fmla="*/ 3699415 w 3699414"/>
                <a:gd name="connsiteY10" fmla="*/ 394240 h 1523904"/>
                <a:gd name="connsiteX11" fmla="*/ 3191637 w 3699414"/>
                <a:gd name="connsiteY11" fmla="*/ 462629 h 15239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699414" h="1523904">
                  <a:moveTo>
                    <a:pt x="3191637" y="462629"/>
                  </a:moveTo>
                  <a:lnTo>
                    <a:pt x="3001709" y="0"/>
                  </a:lnTo>
                  <a:cubicBezTo>
                    <a:pt x="2890742" y="202597"/>
                    <a:pt x="2731103" y="374713"/>
                    <a:pt x="2536031" y="501205"/>
                  </a:cubicBezTo>
                  <a:cubicBezTo>
                    <a:pt x="2311337" y="646747"/>
                    <a:pt x="2050828" y="723709"/>
                    <a:pt x="1782509" y="723709"/>
                  </a:cubicBezTo>
                  <a:cubicBezTo>
                    <a:pt x="1356360" y="723709"/>
                    <a:pt x="960882" y="532352"/>
                    <a:pt x="695135" y="198120"/>
                  </a:cubicBezTo>
                  <a:lnTo>
                    <a:pt x="195263" y="130778"/>
                  </a:lnTo>
                  <a:lnTo>
                    <a:pt x="0" y="606362"/>
                  </a:lnTo>
                  <a:cubicBezTo>
                    <a:pt x="69532" y="703612"/>
                    <a:pt x="148400" y="796385"/>
                    <a:pt x="234410" y="882587"/>
                  </a:cubicBezTo>
                  <a:cubicBezTo>
                    <a:pt x="647986" y="1296162"/>
                    <a:pt x="1197769" y="1523905"/>
                    <a:pt x="1782509" y="1523905"/>
                  </a:cubicBezTo>
                  <a:cubicBezTo>
                    <a:pt x="2367248" y="1523905"/>
                    <a:pt x="2917031" y="1296162"/>
                    <a:pt x="3330607" y="882587"/>
                  </a:cubicBezTo>
                  <a:cubicBezTo>
                    <a:pt x="3476816" y="736282"/>
                    <a:pt x="3600641" y="572357"/>
                    <a:pt x="3699415" y="394240"/>
                  </a:cubicBezTo>
                  <a:lnTo>
                    <a:pt x="3191637" y="46262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38" name="Freihandform: Form 86">
              <a:extLst>
                <a:ext uri="{FF2B5EF4-FFF2-40B4-BE49-F238E27FC236}">
                  <a16:creationId xmlns:a16="http://schemas.microsoft.com/office/drawing/2014/main" id="{CBF65B4D-54C4-A085-A9C6-2B6ED225E69F}"/>
                </a:ext>
              </a:extLst>
            </p:cNvPr>
            <p:cNvSpPr>
              <a:spLocks/>
            </p:cNvSpPr>
            <p:nvPr/>
          </p:nvSpPr>
          <p:spPr>
            <a:xfrm>
              <a:off x="6060186" y="1238250"/>
              <a:ext cx="2223706" cy="3171634"/>
            </a:xfrm>
            <a:custGeom>
              <a:avLst/>
              <a:gdLst>
                <a:gd name="connsiteX0" fmla="*/ 2024443 w 2223706"/>
                <a:gd name="connsiteY0" fmla="*/ 3104769 h 3171634"/>
                <a:gd name="connsiteX1" fmla="*/ 2223707 w 2223706"/>
                <a:gd name="connsiteY1" fmla="*/ 2189321 h 3171634"/>
                <a:gd name="connsiteX2" fmla="*/ 1582484 w 2223706"/>
                <a:gd name="connsiteY2" fmla="*/ 641223 h 3171634"/>
                <a:gd name="connsiteX3" fmla="*/ 34385 w 2223706"/>
                <a:gd name="connsiteY3" fmla="*/ 0 h 3171634"/>
                <a:gd name="connsiteX4" fmla="*/ 0 w 2223706"/>
                <a:gd name="connsiteY4" fmla="*/ 286 h 3171634"/>
                <a:gd name="connsiteX5" fmla="*/ 317087 w 2223706"/>
                <a:gd name="connsiteY5" fmla="*/ 410718 h 3171634"/>
                <a:gd name="connsiteX6" fmla="*/ 16288 w 2223706"/>
                <a:gd name="connsiteY6" fmla="*/ 800195 h 3171634"/>
                <a:gd name="connsiteX7" fmla="*/ 34480 w 2223706"/>
                <a:gd name="connsiteY7" fmla="*/ 800100 h 3171634"/>
                <a:gd name="connsiteX8" fmla="*/ 1423702 w 2223706"/>
                <a:gd name="connsiteY8" fmla="*/ 2189321 h 3171634"/>
                <a:gd name="connsiteX9" fmla="*/ 1330166 w 2223706"/>
                <a:gd name="connsiteY9" fmla="*/ 2690336 h 3171634"/>
                <a:gd name="connsiteX10" fmla="*/ 1527810 w 2223706"/>
                <a:gd name="connsiteY10" fmla="*/ 3171635 h 3171634"/>
                <a:gd name="connsiteX11" fmla="*/ 2024443 w 2223706"/>
                <a:gd name="connsiteY11" fmla="*/ 3104674 h 31716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223706" h="3171634">
                  <a:moveTo>
                    <a:pt x="2024443" y="3104769"/>
                  </a:moveTo>
                  <a:cubicBezTo>
                    <a:pt x="2156651" y="2817876"/>
                    <a:pt x="2223707" y="2510028"/>
                    <a:pt x="2223707" y="2189321"/>
                  </a:cubicBezTo>
                  <a:cubicBezTo>
                    <a:pt x="2223707" y="1604486"/>
                    <a:pt x="1995964" y="1054703"/>
                    <a:pt x="1582484" y="641223"/>
                  </a:cubicBezTo>
                  <a:cubicBezTo>
                    <a:pt x="1168908" y="227743"/>
                    <a:pt x="619125" y="0"/>
                    <a:pt x="34385" y="0"/>
                  </a:cubicBezTo>
                  <a:cubicBezTo>
                    <a:pt x="22860" y="0"/>
                    <a:pt x="11430" y="0"/>
                    <a:pt x="0" y="286"/>
                  </a:cubicBezTo>
                  <a:lnTo>
                    <a:pt x="317087" y="410718"/>
                  </a:lnTo>
                  <a:lnTo>
                    <a:pt x="16288" y="800195"/>
                  </a:lnTo>
                  <a:cubicBezTo>
                    <a:pt x="22384" y="800195"/>
                    <a:pt x="28480" y="800100"/>
                    <a:pt x="34480" y="800100"/>
                  </a:cubicBezTo>
                  <a:cubicBezTo>
                    <a:pt x="800481" y="800100"/>
                    <a:pt x="1423702" y="1423321"/>
                    <a:pt x="1423702" y="2189321"/>
                  </a:cubicBezTo>
                  <a:cubicBezTo>
                    <a:pt x="1423702" y="2362200"/>
                    <a:pt x="1392269" y="2530697"/>
                    <a:pt x="1330166" y="2690336"/>
                  </a:cubicBezTo>
                  <a:lnTo>
                    <a:pt x="1527810" y="3171635"/>
                  </a:lnTo>
                  <a:lnTo>
                    <a:pt x="2024443" y="310467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</p:grpSp>
      <p:sp>
        <p:nvSpPr>
          <p:cNvPr id="39" name="Textfeld 3">
            <a:extLst>
              <a:ext uri="{FF2B5EF4-FFF2-40B4-BE49-F238E27FC236}">
                <a16:creationId xmlns:a16="http://schemas.microsoft.com/office/drawing/2014/main" id="{A2BDCA44-B94C-5C7F-2518-E97D2E8280B8}"/>
              </a:ext>
            </a:extLst>
          </p:cNvPr>
          <p:cNvSpPr txBox="1">
            <a:spLocks/>
          </p:cNvSpPr>
          <p:nvPr/>
        </p:nvSpPr>
        <p:spPr>
          <a:xfrm rot="18000000">
            <a:off x="6677590" y="1776711"/>
            <a:ext cx="1872072" cy="1854732"/>
          </a:xfrm>
          <a:prstGeom prst="rect">
            <a:avLst/>
          </a:prstGeom>
          <a:noFill/>
        </p:spPr>
        <p:txBody>
          <a:bodyPr spcFirstLastPara="1" wrap="none" lIns="0" tIns="0" rIns="0" bIns="0" numCol="1" rtlCol="0" anchor="ctr">
            <a:prstTxWarp prst="textArchUp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1A7449"/>
              </a:buClr>
              <a:buSzPct val="80000"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理想品牌字体 2022"/>
                <a:ea typeface="Verdana" pitchFamily="34" charset="0"/>
                <a:cs typeface="Verdana" pitchFamily="34" charset="0"/>
              </a:rPr>
              <a:t>Lorem ipsum</a:t>
            </a:r>
          </a:p>
        </p:txBody>
      </p:sp>
      <p:sp>
        <p:nvSpPr>
          <p:cNvPr id="40" name="Textfeld 1">
            <a:extLst>
              <a:ext uri="{FF2B5EF4-FFF2-40B4-BE49-F238E27FC236}">
                <a16:creationId xmlns:a16="http://schemas.microsoft.com/office/drawing/2014/main" id="{D06F680B-F601-30A6-E56C-F1FD1020CD0A}"/>
              </a:ext>
            </a:extLst>
          </p:cNvPr>
          <p:cNvSpPr txBox="1">
            <a:spLocks/>
          </p:cNvSpPr>
          <p:nvPr/>
        </p:nvSpPr>
        <p:spPr>
          <a:xfrm rot="3600000">
            <a:off x="6677590" y="1776711"/>
            <a:ext cx="1872072" cy="1854732"/>
          </a:xfrm>
          <a:prstGeom prst="rect">
            <a:avLst/>
          </a:prstGeom>
          <a:noFill/>
        </p:spPr>
        <p:txBody>
          <a:bodyPr spcFirstLastPara="1" wrap="none" lIns="0" tIns="0" rIns="0" bIns="0" numCol="1" rtlCol="0" anchor="ctr">
            <a:prstTxWarp prst="textArchUp">
              <a:avLst/>
            </a:prstTxWarp>
            <a:spAutoFit/>
          </a:bodyPr>
          <a:lstStyle/>
          <a:p>
            <a:pPr lvl="0" algn="ctr">
              <a:spcBef>
                <a:spcPts val="400"/>
              </a:spcBef>
              <a:buClr>
                <a:srgbClr val="1A7449"/>
              </a:buClr>
              <a:buSzPct val="80000"/>
              <a:defRPr/>
            </a:pPr>
            <a:r>
              <a:rPr lang="en-US" altLang="zh-CN" sz="1200" dirty="0">
                <a:solidFill>
                  <a:srgbClr val="575757"/>
                </a:solidFill>
                <a:ea typeface="Verdana" pitchFamily="34" charset="0"/>
                <a:cs typeface="Verdana" pitchFamily="34" charset="0"/>
              </a:rPr>
              <a:t>{bullet_4}</a:t>
            </a:r>
          </a:p>
        </p:txBody>
      </p:sp>
      <p:sp>
        <p:nvSpPr>
          <p:cNvPr id="41" name="Textfeld 2">
            <a:extLst>
              <a:ext uri="{FF2B5EF4-FFF2-40B4-BE49-F238E27FC236}">
                <a16:creationId xmlns:a16="http://schemas.microsoft.com/office/drawing/2014/main" id="{407C3BD5-8BEC-35D2-61AE-7099BACE6D82}"/>
              </a:ext>
            </a:extLst>
          </p:cNvPr>
          <p:cNvSpPr txBox="1">
            <a:spLocks/>
          </p:cNvSpPr>
          <p:nvPr/>
        </p:nvSpPr>
        <p:spPr>
          <a:xfrm>
            <a:off x="6702289" y="1768370"/>
            <a:ext cx="1855386" cy="1871413"/>
          </a:xfrm>
          <a:prstGeom prst="rect">
            <a:avLst/>
          </a:prstGeom>
          <a:noFill/>
        </p:spPr>
        <p:txBody>
          <a:bodyPr spcFirstLastPara="1" wrap="none" lIns="0" tIns="0" rIns="0" bIns="0" numCol="1" rtlCol="0" anchor="ctr">
            <a:prstTxWarp prst="textArchDown">
              <a:avLst>
                <a:gd name="adj" fmla="val 355666"/>
              </a:avLst>
            </a:prstTxWarp>
            <a:spAutoFit/>
          </a:bodyPr>
          <a:lstStyle/>
          <a:p>
            <a:pPr lvl="0" algn="ctr">
              <a:spcBef>
                <a:spcPts val="400"/>
              </a:spcBef>
              <a:buClr>
                <a:srgbClr val="1A7449"/>
              </a:buClr>
              <a:buSzPct val="80000"/>
              <a:defRPr/>
            </a:pPr>
            <a:r>
              <a:rPr lang="en-US" altLang="zh-CN" sz="1200" dirty="0">
                <a:solidFill>
                  <a:srgbClr val="575757"/>
                </a:solidFill>
                <a:ea typeface="Verdana" pitchFamily="34" charset="0"/>
                <a:cs typeface="Verdana" pitchFamily="34" charset="0"/>
              </a:rPr>
              <a:t>{bullet_3}</a:t>
            </a:r>
          </a:p>
        </p:txBody>
      </p:sp>
      <p:grpSp>
        <p:nvGrpSpPr>
          <p:cNvPr id="42" name="Gruppieren 126">
            <a:extLst>
              <a:ext uri="{FF2B5EF4-FFF2-40B4-BE49-F238E27FC236}">
                <a16:creationId xmlns:a16="http://schemas.microsoft.com/office/drawing/2014/main" id="{E6311E51-AFD9-59B8-A1C9-33485C69ED13}"/>
              </a:ext>
            </a:extLst>
          </p:cNvPr>
          <p:cNvGrpSpPr>
            <a:grpSpLocks/>
          </p:cNvGrpSpPr>
          <p:nvPr/>
        </p:nvGrpSpPr>
        <p:grpSpPr>
          <a:xfrm>
            <a:off x="3443745" y="1550919"/>
            <a:ext cx="2307130" cy="2306313"/>
            <a:chOff x="3905250" y="1238250"/>
            <a:chExt cx="4378737" cy="4378736"/>
          </a:xfrm>
          <a:solidFill>
            <a:schemeClr val="bg2"/>
          </a:solidFill>
        </p:grpSpPr>
        <p:sp>
          <p:nvSpPr>
            <p:cNvPr id="43" name="Freihandform: Form 127">
              <a:extLst>
                <a:ext uri="{FF2B5EF4-FFF2-40B4-BE49-F238E27FC236}">
                  <a16:creationId xmlns:a16="http://schemas.microsoft.com/office/drawing/2014/main" id="{28C6FD51-5A07-0A9D-8CB9-02DCB3119DA2}"/>
                </a:ext>
              </a:extLst>
            </p:cNvPr>
            <p:cNvSpPr>
              <a:spLocks/>
            </p:cNvSpPr>
            <p:nvPr/>
          </p:nvSpPr>
          <p:spPr>
            <a:xfrm>
              <a:off x="3905250" y="1246917"/>
              <a:ext cx="2303430" cy="4370069"/>
            </a:xfrm>
            <a:custGeom>
              <a:avLst/>
              <a:gdLst>
                <a:gd name="connsiteX0" fmla="*/ 2221135 w 2303430"/>
                <a:gd name="connsiteY0" fmla="*/ 3569589 h 4370069"/>
                <a:gd name="connsiteX1" fmla="*/ 2189321 w 2303430"/>
                <a:gd name="connsiteY1" fmla="*/ 3569970 h 4370069"/>
                <a:gd name="connsiteX2" fmla="*/ 800100 w 2303430"/>
                <a:gd name="connsiteY2" fmla="*/ 2180654 h 4370069"/>
                <a:gd name="connsiteX3" fmla="*/ 1991868 w 2303430"/>
                <a:gd name="connsiteY3" fmla="*/ 805434 h 4370069"/>
                <a:gd name="connsiteX4" fmla="*/ 2303431 w 2303430"/>
                <a:gd name="connsiteY4" fmla="*/ 402050 h 4370069"/>
                <a:gd name="connsiteX5" fmla="*/ 1992916 w 2303430"/>
                <a:gd name="connsiteY5" fmla="*/ 0 h 4370069"/>
                <a:gd name="connsiteX6" fmla="*/ 641128 w 2303430"/>
                <a:gd name="connsiteY6" fmla="*/ 632555 h 4370069"/>
                <a:gd name="connsiteX7" fmla="*/ 0 w 2303430"/>
                <a:gd name="connsiteY7" fmla="*/ 2180654 h 4370069"/>
                <a:gd name="connsiteX8" fmla="*/ 641223 w 2303430"/>
                <a:gd name="connsiteY8" fmla="*/ 3728752 h 4370069"/>
                <a:gd name="connsiteX9" fmla="*/ 2189321 w 2303430"/>
                <a:gd name="connsiteY9" fmla="*/ 4370070 h 4370069"/>
                <a:gd name="connsiteX10" fmla="*/ 2236946 w 2303430"/>
                <a:gd name="connsiteY10" fmla="*/ 4369594 h 4370069"/>
                <a:gd name="connsiteX11" fmla="*/ 1920145 w 2303430"/>
                <a:gd name="connsiteY11" fmla="*/ 3959447 h 4370069"/>
                <a:gd name="connsiteX12" fmla="*/ 2221040 w 2303430"/>
                <a:gd name="connsiteY12" fmla="*/ 3569684 h 43700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303430" h="4370069">
                  <a:moveTo>
                    <a:pt x="2221135" y="3569589"/>
                  </a:moveTo>
                  <a:cubicBezTo>
                    <a:pt x="2210467" y="3569875"/>
                    <a:pt x="2199894" y="3569970"/>
                    <a:pt x="2189321" y="3569970"/>
                  </a:cubicBezTo>
                  <a:cubicBezTo>
                    <a:pt x="1423321" y="3569970"/>
                    <a:pt x="800100" y="2946749"/>
                    <a:pt x="800100" y="2180654"/>
                  </a:cubicBezTo>
                  <a:cubicBezTo>
                    <a:pt x="800100" y="1491044"/>
                    <a:pt x="1311307" y="902589"/>
                    <a:pt x="1991868" y="805434"/>
                  </a:cubicBezTo>
                  <a:lnTo>
                    <a:pt x="2303431" y="402050"/>
                  </a:lnTo>
                  <a:lnTo>
                    <a:pt x="1992916" y="0"/>
                  </a:lnTo>
                  <a:cubicBezTo>
                    <a:pt x="1483995" y="45053"/>
                    <a:pt x="1004602" y="269177"/>
                    <a:pt x="641128" y="632555"/>
                  </a:cubicBezTo>
                  <a:cubicBezTo>
                    <a:pt x="227743" y="1046036"/>
                    <a:pt x="0" y="1595819"/>
                    <a:pt x="0" y="2180654"/>
                  </a:cubicBezTo>
                  <a:cubicBezTo>
                    <a:pt x="0" y="2765489"/>
                    <a:pt x="227743" y="3315272"/>
                    <a:pt x="641223" y="3728752"/>
                  </a:cubicBezTo>
                  <a:cubicBezTo>
                    <a:pt x="1054799" y="4142327"/>
                    <a:pt x="1604582" y="4370070"/>
                    <a:pt x="2189321" y="4370070"/>
                  </a:cubicBezTo>
                  <a:cubicBezTo>
                    <a:pt x="2205133" y="4370070"/>
                    <a:pt x="2221040" y="4369880"/>
                    <a:pt x="2236946" y="4369594"/>
                  </a:cubicBezTo>
                  <a:lnTo>
                    <a:pt x="1920145" y="3959447"/>
                  </a:lnTo>
                  <a:lnTo>
                    <a:pt x="2221040" y="3569684"/>
                  </a:ln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44" name="Freihandform: Form 128">
              <a:extLst>
                <a:ext uri="{FF2B5EF4-FFF2-40B4-BE49-F238E27FC236}">
                  <a16:creationId xmlns:a16="http://schemas.microsoft.com/office/drawing/2014/main" id="{5DBBAAED-331D-6676-EE66-297A385B4335}"/>
                </a:ext>
              </a:extLst>
            </p:cNvPr>
            <p:cNvSpPr>
              <a:spLocks/>
            </p:cNvSpPr>
            <p:nvPr/>
          </p:nvSpPr>
          <p:spPr>
            <a:xfrm>
              <a:off x="5993987" y="1238250"/>
              <a:ext cx="2290000" cy="4368926"/>
            </a:xfrm>
            <a:custGeom>
              <a:avLst/>
              <a:gdLst>
                <a:gd name="connsiteX0" fmla="*/ 1648682 w 2290000"/>
                <a:gd name="connsiteY0" fmla="*/ 641223 h 4368926"/>
                <a:gd name="connsiteX1" fmla="*/ 100584 w 2290000"/>
                <a:gd name="connsiteY1" fmla="*/ 0 h 4368926"/>
                <a:gd name="connsiteX2" fmla="*/ 66199 w 2290000"/>
                <a:gd name="connsiteY2" fmla="*/ 286 h 4368926"/>
                <a:gd name="connsiteX3" fmla="*/ 383286 w 2290000"/>
                <a:gd name="connsiteY3" fmla="*/ 410718 h 4368926"/>
                <a:gd name="connsiteX4" fmla="*/ 82487 w 2290000"/>
                <a:gd name="connsiteY4" fmla="*/ 800195 h 4368926"/>
                <a:gd name="connsiteX5" fmla="*/ 100679 w 2290000"/>
                <a:gd name="connsiteY5" fmla="*/ 800100 h 4368926"/>
                <a:gd name="connsiteX6" fmla="*/ 1489901 w 2290000"/>
                <a:gd name="connsiteY6" fmla="*/ 2189321 h 4368926"/>
                <a:gd name="connsiteX7" fmla="*/ 1146239 w 2290000"/>
                <a:gd name="connsiteY7" fmla="*/ 3103150 h 4368926"/>
                <a:gd name="connsiteX8" fmla="*/ 313277 w 2290000"/>
                <a:gd name="connsiteY8" fmla="*/ 3562350 h 4368926"/>
                <a:gd name="connsiteX9" fmla="*/ 0 w 2290000"/>
                <a:gd name="connsiteY9" fmla="*/ 3968020 h 4368926"/>
                <a:gd name="connsiteX10" fmla="*/ 309658 w 2290000"/>
                <a:gd name="connsiteY10" fmla="*/ 4368927 h 4368926"/>
                <a:gd name="connsiteX11" fmla="*/ 1648778 w 2290000"/>
                <a:gd name="connsiteY11" fmla="*/ 3737420 h 4368926"/>
                <a:gd name="connsiteX12" fmla="*/ 2290001 w 2290000"/>
                <a:gd name="connsiteY12" fmla="*/ 2189321 h 4368926"/>
                <a:gd name="connsiteX13" fmla="*/ 1648778 w 2290000"/>
                <a:gd name="connsiteY13" fmla="*/ 641223 h 43689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90000" h="4368926">
                  <a:moveTo>
                    <a:pt x="1648682" y="641223"/>
                  </a:moveTo>
                  <a:cubicBezTo>
                    <a:pt x="1235107" y="227743"/>
                    <a:pt x="685324" y="0"/>
                    <a:pt x="100584" y="0"/>
                  </a:cubicBezTo>
                  <a:cubicBezTo>
                    <a:pt x="89059" y="0"/>
                    <a:pt x="77629" y="0"/>
                    <a:pt x="66199" y="286"/>
                  </a:cubicBezTo>
                  <a:lnTo>
                    <a:pt x="383286" y="410718"/>
                  </a:lnTo>
                  <a:lnTo>
                    <a:pt x="82487" y="800195"/>
                  </a:lnTo>
                  <a:cubicBezTo>
                    <a:pt x="88583" y="800195"/>
                    <a:pt x="94679" y="800100"/>
                    <a:pt x="100679" y="800100"/>
                  </a:cubicBezTo>
                  <a:cubicBezTo>
                    <a:pt x="866680" y="800100"/>
                    <a:pt x="1489901" y="1423321"/>
                    <a:pt x="1489901" y="2189321"/>
                  </a:cubicBezTo>
                  <a:cubicBezTo>
                    <a:pt x="1489901" y="2525363"/>
                    <a:pt x="1367885" y="2849880"/>
                    <a:pt x="1146239" y="3103150"/>
                  </a:cubicBezTo>
                  <a:cubicBezTo>
                    <a:pt x="930212" y="3350038"/>
                    <a:pt x="634937" y="3512725"/>
                    <a:pt x="313277" y="3562350"/>
                  </a:cubicBezTo>
                  <a:lnTo>
                    <a:pt x="0" y="3968020"/>
                  </a:lnTo>
                  <a:lnTo>
                    <a:pt x="309658" y="4368927"/>
                  </a:lnTo>
                  <a:cubicBezTo>
                    <a:pt x="813626" y="4321398"/>
                    <a:pt x="1288447" y="4097655"/>
                    <a:pt x="1648778" y="3737420"/>
                  </a:cubicBezTo>
                  <a:cubicBezTo>
                    <a:pt x="2062258" y="3323939"/>
                    <a:pt x="2290001" y="2774156"/>
                    <a:pt x="2290001" y="2189321"/>
                  </a:cubicBezTo>
                  <a:cubicBezTo>
                    <a:pt x="2290001" y="1604486"/>
                    <a:pt x="2062258" y="1054703"/>
                    <a:pt x="1648778" y="6412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</p:grpSp>
      <p:sp>
        <p:nvSpPr>
          <p:cNvPr id="45" name="Textfeld 2">
            <a:extLst>
              <a:ext uri="{FF2B5EF4-FFF2-40B4-BE49-F238E27FC236}">
                <a16:creationId xmlns:a16="http://schemas.microsoft.com/office/drawing/2014/main" id="{14840DD6-2E83-3937-B8C4-D287997E3235}"/>
              </a:ext>
            </a:extLst>
          </p:cNvPr>
          <p:cNvSpPr txBox="1">
            <a:spLocks/>
          </p:cNvSpPr>
          <p:nvPr/>
        </p:nvSpPr>
        <p:spPr>
          <a:xfrm rot="5400000">
            <a:off x="3661603" y="1768039"/>
            <a:ext cx="1871415" cy="1872073"/>
          </a:xfrm>
          <a:prstGeom prst="rect">
            <a:avLst/>
          </a:prstGeom>
          <a:noFill/>
        </p:spPr>
        <p:txBody>
          <a:bodyPr spcFirstLastPara="1" wrap="none" lIns="0" tIns="0" rIns="0" bIns="0" numCol="1" rtlCol="0" anchor="ctr">
            <a:prstTxWarp prst="textArchDown">
              <a:avLst>
                <a:gd name="adj" fmla="val 355666"/>
              </a:avLst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1A7449"/>
              </a:buClr>
              <a:buSzPct val="80000"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理想品牌字体 2022"/>
                <a:ea typeface="Verdana" pitchFamily="34" charset="0"/>
                <a:cs typeface="Verdana" pitchFamily="34" charset="0"/>
              </a:rPr>
              <a:t>Lorem ipsum</a:t>
            </a:r>
          </a:p>
        </p:txBody>
      </p:sp>
      <p:sp>
        <p:nvSpPr>
          <p:cNvPr id="46" name="Textfeld 1">
            <a:extLst>
              <a:ext uri="{FF2B5EF4-FFF2-40B4-BE49-F238E27FC236}">
                <a16:creationId xmlns:a16="http://schemas.microsoft.com/office/drawing/2014/main" id="{694FC148-0E0F-0442-207F-29A15B3A4A29}"/>
              </a:ext>
            </a:extLst>
          </p:cNvPr>
          <p:cNvSpPr txBox="1">
            <a:spLocks/>
          </p:cNvSpPr>
          <p:nvPr/>
        </p:nvSpPr>
        <p:spPr>
          <a:xfrm rot="16200000">
            <a:off x="3661603" y="1768039"/>
            <a:ext cx="1871415" cy="1872073"/>
          </a:xfrm>
          <a:prstGeom prst="rect">
            <a:avLst/>
          </a:prstGeom>
          <a:noFill/>
        </p:spPr>
        <p:txBody>
          <a:bodyPr spcFirstLastPara="1" wrap="none" lIns="0" tIns="0" rIns="0" bIns="0" numCol="1" rtlCol="0" anchor="ctr">
            <a:prstTxWarp prst="textArchDown">
              <a:avLst>
                <a:gd name="adj" fmla="val 355666"/>
              </a:avLst>
            </a:prstTxWarp>
            <a:spAutoFit/>
          </a:bodyPr>
          <a:lstStyle/>
          <a:p>
            <a:pPr lvl="0" algn="ctr">
              <a:spcBef>
                <a:spcPts val="400"/>
              </a:spcBef>
              <a:buClr>
                <a:srgbClr val="1A7449"/>
              </a:buClr>
              <a:buSzPct val="80000"/>
              <a:defRPr/>
            </a:pPr>
            <a:r>
              <a:rPr lang="en-US" altLang="zh-CN" sz="1200" dirty="0">
                <a:solidFill>
                  <a:srgbClr val="575757"/>
                </a:solidFill>
                <a:ea typeface="Verdana" pitchFamily="34" charset="0"/>
                <a:cs typeface="Verdana" pitchFamily="34" charset="0"/>
              </a:rPr>
              <a:t>{bullet_2}</a:t>
            </a:r>
          </a:p>
        </p:txBody>
      </p:sp>
      <p:sp>
        <p:nvSpPr>
          <p:cNvPr id="47" name="Grafik 71">
            <a:extLst>
              <a:ext uri="{FF2B5EF4-FFF2-40B4-BE49-F238E27FC236}">
                <a16:creationId xmlns:a16="http://schemas.microsoft.com/office/drawing/2014/main" id="{93C07508-9626-493C-AA6D-98AB56BDA2F6}"/>
              </a:ext>
            </a:extLst>
          </p:cNvPr>
          <p:cNvSpPr>
            <a:spLocks/>
          </p:cNvSpPr>
          <p:nvPr/>
        </p:nvSpPr>
        <p:spPr>
          <a:xfrm>
            <a:off x="419100" y="1550919"/>
            <a:ext cx="2307130" cy="2306313"/>
          </a:xfrm>
          <a:custGeom>
            <a:avLst/>
            <a:gdLst>
              <a:gd name="connsiteX0" fmla="*/ 3737420 w 4378642"/>
              <a:gd name="connsiteY0" fmla="*/ 641223 h 4378737"/>
              <a:gd name="connsiteX1" fmla="*/ 2189321 w 4378642"/>
              <a:gd name="connsiteY1" fmla="*/ 0 h 4378737"/>
              <a:gd name="connsiteX2" fmla="*/ 2154936 w 4378642"/>
              <a:gd name="connsiteY2" fmla="*/ 286 h 4378737"/>
              <a:gd name="connsiteX3" fmla="*/ 2471928 w 4378642"/>
              <a:gd name="connsiteY3" fmla="*/ 410718 h 4378737"/>
              <a:gd name="connsiteX4" fmla="*/ 2171129 w 4378642"/>
              <a:gd name="connsiteY4" fmla="*/ 800195 h 4378737"/>
              <a:gd name="connsiteX5" fmla="*/ 2189321 w 4378642"/>
              <a:gd name="connsiteY5" fmla="*/ 800100 h 4378737"/>
              <a:gd name="connsiteX6" fmla="*/ 3578543 w 4378642"/>
              <a:gd name="connsiteY6" fmla="*/ 2189321 h 4378737"/>
              <a:gd name="connsiteX7" fmla="*/ 2189321 w 4378642"/>
              <a:gd name="connsiteY7" fmla="*/ 3578638 h 4378737"/>
              <a:gd name="connsiteX8" fmla="*/ 800100 w 4378642"/>
              <a:gd name="connsiteY8" fmla="*/ 2189321 h 4378737"/>
              <a:gd name="connsiteX9" fmla="*/ 1992059 w 4378642"/>
              <a:gd name="connsiteY9" fmla="*/ 814102 h 4378737"/>
              <a:gd name="connsiteX10" fmla="*/ 2303431 w 4378642"/>
              <a:gd name="connsiteY10" fmla="*/ 410718 h 4378737"/>
              <a:gd name="connsiteX11" fmla="*/ 1993011 w 4378642"/>
              <a:gd name="connsiteY11" fmla="*/ 8668 h 4378737"/>
              <a:gd name="connsiteX12" fmla="*/ 641128 w 4378642"/>
              <a:gd name="connsiteY12" fmla="*/ 641223 h 4378737"/>
              <a:gd name="connsiteX13" fmla="*/ 0 w 4378642"/>
              <a:gd name="connsiteY13" fmla="*/ 2189321 h 4378737"/>
              <a:gd name="connsiteX14" fmla="*/ 641223 w 4378642"/>
              <a:gd name="connsiteY14" fmla="*/ 3737420 h 4378737"/>
              <a:gd name="connsiteX15" fmla="*/ 2189321 w 4378642"/>
              <a:gd name="connsiteY15" fmla="*/ 4378738 h 4378737"/>
              <a:gd name="connsiteX16" fmla="*/ 3737420 w 4378642"/>
              <a:gd name="connsiteY16" fmla="*/ 3737420 h 4378737"/>
              <a:gd name="connsiteX17" fmla="*/ 4378643 w 4378642"/>
              <a:gd name="connsiteY17" fmla="*/ 2189321 h 4378737"/>
              <a:gd name="connsiteX18" fmla="*/ 3737420 w 4378642"/>
              <a:gd name="connsiteY18" fmla="*/ 641223 h 43787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4378642" h="4378737">
                <a:moveTo>
                  <a:pt x="3737420" y="641223"/>
                </a:moveTo>
                <a:cubicBezTo>
                  <a:pt x="3323844" y="227743"/>
                  <a:pt x="2774061" y="0"/>
                  <a:pt x="2189321" y="0"/>
                </a:cubicBezTo>
                <a:cubicBezTo>
                  <a:pt x="2177796" y="0"/>
                  <a:pt x="2166271" y="0"/>
                  <a:pt x="2154936" y="286"/>
                </a:cubicBezTo>
                <a:lnTo>
                  <a:pt x="2471928" y="410718"/>
                </a:lnTo>
                <a:lnTo>
                  <a:pt x="2171129" y="800195"/>
                </a:lnTo>
                <a:cubicBezTo>
                  <a:pt x="2177225" y="800195"/>
                  <a:pt x="2183321" y="800100"/>
                  <a:pt x="2189321" y="800100"/>
                </a:cubicBezTo>
                <a:cubicBezTo>
                  <a:pt x="2955322" y="800100"/>
                  <a:pt x="3578543" y="1423321"/>
                  <a:pt x="3578543" y="2189321"/>
                </a:cubicBezTo>
                <a:cubicBezTo>
                  <a:pt x="3578543" y="2955322"/>
                  <a:pt x="2955322" y="3578638"/>
                  <a:pt x="2189321" y="3578638"/>
                </a:cubicBezTo>
                <a:cubicBezTo>
                  <a:pt x="1423321" y="3578638"/>
                  <a:pt x="800100" y="2955417"/>
                  <a:pt x="800100" y="2189321"/>
                </a:cubicBezTo>
                <a:cubicBezTo>
                  <a:pt x="800100" y="1499616"/>
                  <a:pt x="1311402" y="911257"/>
                  <a:pt x="1992059" y="814102"/>
                </a:cubicBezTo>
                <a:lnTo>
                  <a:pt x="2303431" y="410718"/>
                </a:lnTo>
                <a:lnTo>
                  <a:pt x="1993011" y="8668"/>
                </a:lnTo>
                <a:cubicBezTo>
                  <a:pt x="1483995" y="53721"/>
                  <a:pt x="1004602" y="277844"/>
                  <a:pt x="641128" y="641223"/>
                </a:cubicBezTo>
                <a:cubicBezTo>
                  <a:pt x="227743" y="1054703"/>
                  <a:pt x="0" y="1604486"/>
                  <a:pt x="0" y="2189321"/>
                </a:cubicBezTo>
                <a:cubicBezTo>
                  <a:pt x="0" y="2774156"/>
                  <a:pt x="227743" y="3323939"/>
                  <a:pt x="641223" y="3737420"/>
                </a:cubicBezTo>
                <a:cubicBezTo>
                  <a:pt x="1054799" y="4150995"/>
                  <a:pt x="1604582" y="4378738"/>
                  <a:pt x="2189321" y="4378738"/>
                </a:cubicBezTo>
                <a:cubicBezTo>
                  <a:pt x="2774061" y="4378738"/>
                  <a:pt x="3323844" y="4150995"/>
                  <a:pt x="3737420" y="3737420"/>
                </a:cubicBezTo>
                <a:cubicBezTo>
                  <a:pt x="4150900" y="3323939"/>
                  <a:pt x="4378643" y="2774156"/>
                  <a:pt x="4378643" y="2189321"/>
                </a:cubicBezTo>
                <a:cubicBezTo>
                  <a:pt x="4378643" y="1604486"/>
                  <a:pt x="4150900" y="1054703"/>
                  <a:pt x="3737420" y="641223"/>
                </a:cubicBezTo>
                <a:close/>
              </a:path>
            </a:pathLst>
          </a:custGeom>
          <a:solidFill>
            <a:schemeClr val="bg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48" name="Textfeld 1">
            <a:extLst>
              <a:ext uri="{FF2B5EF4-FFF2-40B4-BE49-F238E27FC236}">
                <a16:creationId xmlns:a16="http://schemas.microsoft.com/office/drawing/2014/main" id="{4E61A6EA-AACB-1087-9AB2-084E3AD6FB3C}"/>
              </a:ext>
            </a:extLst>
          </p:cNvPr>
          <p:cNvSpPr txBox="1">
            <a:spLocks noChangeAspect="1"/>
          </p:cNvSpPr>
          <p:nvPr/>
        </p:nvSpPr>
        <p:spPr>
          <a:xfrm>
            <a:off x="634091" y="1765835"/>
            <a:ext cx="1877147" cy="1876484"/>
          </a:xfrm>
          <a:prstGeom prst="rect">
            <a:avLst/>
          </a:prstGeom>
          <a:noFill/>
        </p:spPr>
        <p:txBody>
          <a:bodyPr spcFirstLastPara="1" wrap="none" lIns="0" tIns="0" rIns="0" bIns="0" numCol="1" rtlCol="0" anchor="ctr">
            <a:prstTxWarp prst="textArchDown">
              <a:avLst>
                <a:gd name="adj" fmla="val 355666"/>
              </a:avLst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1A7449"/>
              </a:buClr>
              <a:buSzPct val="80000"/>
              <a:buFontTx/>
              <a:buNone/>
              <a:tabLst/>
              <a:defRPr/>
            </a:pP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Verdana" pitchFamily="34" charset="0"/>
                <a:cs typeface="Verdana" pitchFamily="34" charset="0"/>
              </a:rPr>
              <a:t>{bullet_1}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Verdana" pitchFamily="34" charset="0"/>
              <a:cs typeface="Verdana" pitchFamily="34" charset="0"/>
            </a:endParaRPr>
          </a:p>
        </p:txBody>
      </p:sp>
      <p:grpSp>
        <p:nvGrpSpPr>
          <p:cNvPr id="49" name="Gruppieren 95">
            <a:extLst>
              <a:ext uri="{FF2B5EF4-FFF2-40B4-BE49-F238E27FC236}">
                <a16:creationId xmlns:a16="http://schemas.microsoft.com/office/drawing/2014/main" id="{E42152A7-5379-8FA0-9035-DFB672A1C226}"/>
              </a:ext>
            </a:extLst>
          </p:cNvPr>
          <p:cNvGrpSpPr>
            <a:grpSpLocks/>
          </p:cNvGrpSpPr>
          <p:nvPr/>
        </p:nvGrpSpPr>
        <p:grpSpPr>
          <a:xfrm>
            <a:off x="9493048" y="1550919"/>
            <a:ext cx="2307132" cy="2306313"/>
            <a:chOff x="3905250" y="1238250"/>
            <a:chExt cx="4378736" cy="4378736"/>
          </a:xfrm>
          <a:solidFill>
            <a:schemeClr val="bg2"/>
          </a:solidFill>
        </p:grpSpPr>
        <p:sp>
          <p:nvSpPr>
            <p:cNvPr id="50" name="Freihandform: Form 91">
              <a:extLst>
                <a:ext uri="{FF2B5EF4-FFF2-40B4-BE49-F238E27FC236}">
                  <a16:creationId xmlns:a16="http://schemas.microsoft.com/office/drawing/2014/main" id="{581ECEE4-6B75-E42A-5229-2604193358AC}"/>
                </a:ext>
              </a:extLst>
            </p:cNvPr>
            <p:cNvSpPr>
              <a:spLocks/>
            </p:cNvSpPr>
            <p:nvPr/>
          </p:nvSpPr>
          <p:spPr>
            <a:xfrm>
              <a:off x="3914965" y="3320319"/>
              <a:ext cx="2227230" cy="2296667"/>
            </a:xfrm>
            <a:custGeom>
              <a:avLst/>
              <a:gdLst>
                <a:gd name="connsiteX0" fmla="*/ 2211419 w 2227230"/>
                <a:gd name="connsiteY0" fmla="*/ 1496187 h 2296667"/>
                <a:gd name="connsiteX1" fmla="*/ 2179606 w 2227230"/>
                <a:gd name="connsiteY1" fmla="*/ 1496568 h 2296667"/>
                <a:gd name="connsiteX2" fmla="*/ 804577 w 2227230"/>
                <a:gd name="connsiteY2" fmla="*/ 306419 h 2296667"/>
                <a:gd name="connsiteX3" fmla="*/ 407765 w 2227230"/>
                <a:gd name="connsiteY3" fmla="*/ 0 h 2296667"/>
                <a:gd name="connsiteX4" fmla="*/ 0 w 2227230"/>
                <a:gd name="connsiteY4" fmla="*/ 314801 h 2296667"/>
                <a:gd name="connsiteX5" fmla="*/ 631508 w 2227230"/>
                <a:gd name="connsiteY5" fmla="*/ 1655350 h 2296667"/>
                <a:gd name="connsiteX6" fmla="*/ 2179606 w 2227230"/>
                <a:gd name="connsiteY6" fmla="*/ 2296668 h 2296667"/>
                <a:gd name="connsiteX7" fmla="*/ 2227231 w 2227230"/>
                <a:gd name="connsiteY7" fmla="*/ 2296192 h 2296667"/>
                <a:gd name="connsiteX8" fmla="*/ 1910429 w 2227230"/>
                <a:gd name="connsiteY8" fmla="*/ 1886045 h 2296667"/>
                <a:gd name="connsiteX9" fmla="*/ 2211324 w 2227230"/>
                <a:gd name="connsiteY9" fmla="*/ 1496282 h 22966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227230" h="2296667">
                  <a:moveTo>
                    <a:pt x="2211419" y="1496187"/>
                  </a:moveTo>
                  <a:cubicBezTo>
                    <a:pt x="2200751" y="1496473"/>
                    <a:pt x="2190179" y="1496568"/>
                    <a:pt x="2179606" y="1496568"/>
                  </a:cubicBezTo>
                  <a:cubicBezTo>
                    <a:pt x="1490853" y="1496568"/>
                    <a:pt x="902494" y="986028"/>
                    <a:pt x="804577" y="306419"/>
                  </a:cubicBezTo>
                  <a:lnTo>
                    <a:pt x="407765" y="0"/>
                  </a:lnTo>
                  <a:lnTo>
                    <a:pt x="0" y="314801"/>
                  </a:lnTo>
                  <a:cubicBezTo>
                    <a:pt x="47244" y="819531"/>
                    <a:pt x="270986" y="1294829"/>
                    <a:pt x="631508" y="1655350"/>
                  </a:cubicBezTo>
                  <a:cubicBezTo>
                    <a:pt x="1045083" y="2068925"/>
                    <a:pt x="1594866" y="2296668"/>
                    <a:pt x="2179606" y="2296668"/>
                  </a:cubicBezTo>
                  <a:cubicBezTo>
                    <a:pt x="2195417" y="2296668"/>
                    <a:pt x="2211324" y="2296478"/>
                    <a:pt x="2227231" y="2296192"/>
                  </a:cubicBezTo>
                  <a:lnTo>
                    <a:pt x="1910429" y="1886045"/>
                  </a:lnTo>
                  <a:lnTo>
                    <a:pt x="2211324" y="149628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51" name="Freihandform: Form 92">
              <a:extLst>
                <a:ext uri="{FF2B5EF4-FFF2-40B4-BE49-F238E27FC236}">
                  <a16:creationId xmlns:a16="http://schemas.microsoft.com/office/drawing/2014/main" id="{42CD3780-1C5B-40B9-4E50-434171630E68}"/>
                </a:ext>
              </a:extLst>
            </p:cNvPr>
            <p:cNvSpPr>
              <a:spLocks/>
            </p:cNvSpPr>
            <p:nvPr/>
          </p:nvSpPr>
          <p:spPr>
            <a:xfrm>
              <a:off x="3905250" y="1246917"/>
              <a:ext cx="2303430" cy="2226754"/>
            </a:xfrm>
            <a:custGeom>
              <a:avLst/>
              <a:gdLst>
                <a:gd name="connsiteX0" fmla="*/ 476 w 2303430"/>
                <a:gd name="connsiteY0" fmla="*/ 2226755 h 2226754"/>
                <a:gd name="connsiteX1" fmla="*/ 417481 w 2303430"/>
                <a:gd name="connsiteY1" fmla="*/ 1904810 h 2226754"/>
                <a:gd name="connsiteX2" fmla="*/ 800195 w 2303430"/>
                <a:gd name="connsiteY2" fmla="*/ 2200370 h 2226754"/>
                <a:gd name="connsiteX3" fmla="*/ 800100 w 2303430"/>
                <a:gd name="connsiteY3" fmla="*/ 2180558 h 2226754"/>
                <a:gd name="connsiteX4" fmla="*/ 1991868 w 2303430"/>
                <a:gd name="connsiteY4" fmla="*/ 805339 h 2226754"/>
                <a:gd name="connsiteX5" fmla="*/ 2303431 w 2303430"/>
                <a:gd name="connsiteY5" fmla="*/ 401955 h 2226754"/>
                <a:gd name="connsiteX6" fmla="*/ 1993011 w 2303430"/>
                <a:gd name="connsiteY6" fmla="*/ 0 h 2226754"/>
                <a:gd name="connsiteX7" fmla="*/ 641223 w 2303430"/>
                <a:gd name="connsiteY7" fmla="*/ 632555 h 2226754"/>
                <a:gd name="connsiteX8" fmla="*/ 0 w 2303430"/>
                <a:gd name="connsiteY8" fmla="*/ 2180654 h 2226754"/>
                <a:gd name="connsiteX9" fmla="*/ 476 w 2303430"/>
                <a:gd name="connsiteY9" fmla="*/ 2226755 h 22267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303430" h="2226754">
                  <a:moveTo>
                    <a:pt x="476" y="2226755"/>
                  </a:moveTo>
                  <a:lnTo>
                    <a:pt x="417481" y="1904810"/>
                  </a:lnTo>
                  <a:lnTo>
                    <a:pt x="800195" y="2200370"/>
                  </a:lnTo>
                  <a:cubicBezTo>
                    <a:pt x="800195" y="2193798"/>
                    <a:pt x="800100" y="2187131"/>
                    <a:pt x="800100" y="2180558"/>
                  </a:cubicBezTo>
                  <a:cubicBezTo>
                    <a:pt x="800100" y="1490948"/>
                    <a:pt x="1311402" y="902589"/>
                    <a:pt x="1991868" y="805339"/>
                  </a:cubicBezTo>
                  <a:lnTo>
                    <a:pt x="2303431" y="401955"/>
                  </a:lnTo>
                  <a:lnTo>
                    <a:pt x="1993011" y="0"/>
                  </a:lnTo>
                  <a:cubicBezTo>
                    <a:pt x="1484090" y="45053"/>
                    <a:pt x="1004697" y="269177"/>
                    <a:pt x="641223" y="632555"/>
                  </a:cubicBezTo>
                  <a:cubicBezTo>
                    <a:pt x="227743" y="1046036"/>
                    <a:pt x="0" y="1595819"/>
                    <a:pt x="0" y="2180654"/>
                  </a:cubicBezTo>
                  <a:cubicBezTo>
                    <a:pt x="0" y="2196084"/>
                    <a:pt x="191" y="2211515"/>
                    <a:pt x="476" y="2226755"/>
                  </a:cubicBez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52" name="Freihandform: Form 93">
              <a:extLst>
                <a:ext uri="{FF2B5EF4-FFF2-40B4-BE49-F238E27FC236}">
                  <a16:creationId xmlns:a16="http://schemas.microsoft.com/office/drawing/2014/main" id="{A7D4305A-2ED2-030E-2355-281019BA3C07}"/>
                </a:ext>
              </a:extLst>
            </p:cNvPr>
            <p:cNvSpPr>
              <a:spLocks/>
            </p:cNvSpPr>
            <p:nvPr/>
          </p:nvSpPr>
          <p:spPr>
            <a:xfrm>
              <a:off x="6060186" y="1238250"/>
              <a:ext cx="2214943" cy="2296763"/>
            </a:xfrm>
            <a:custGeom>
              <a:avLst/>
              <a:gdLst>
                <a:gd name="connsiteX0" fmla="*/ 16192 w 2214943"/>
                <a:gd name="connsiteY0" fmla="*/ 800195 h 2296763"/>
                <a:gd name="connsiteX1" fmla="*/ 34385 w 2214943"/>
                <a:gd name="connsiteY1" fmla="*/ 800100 h 2296763"/>
                <a:gd name="connsiteX2" fmla="*/ 948880 w 2214943"/>
                <a:gd name="connsiteY2" fmla="*/ 1144334 h 2296763"/>
                <a:gd name="connsiteX3" fmla="*/ 1407700 w 2214943"/>
                <a:gd name="connsiteY3" fmla="*/ 1978533 h 2296763"/>
                <a:gd name="connsiteX4" fmla="*/ 1819751 w 2214943"/>
                <a:gd name="connsiteY4" fmla="*/ 2296763 h 2296763"/>
                <a:gd name="connsiteX5" fmla="*/ 2214944 w 2214943"/>
                <a:gd name="connsiteY5" fmla="*/ 1991678 h 2296763"/>
                <a:gd name="connsiteX6" fmla="*/ 1582484 w 2214943"/>
                <a:gd name="connsiteY6" fmla="*/ 641223 h 2296763"/>
                <a:gd name="connsiteX7" fmla="*/ 34385 w 2214943"/>
                <a:gd name="connsiteY7" fmla="*/ 0 h 2296763"/>
                <a:gd name="connsiteX8" fmla="*/ 0 w 2214943"/>
                <a:gd name="connsiteY8" fmla="*/ 286 h 2296763"/>
                <a:gd name="connsiteX9" fmla="*/ 317087 w 2214943"/>
                <a:gd name="connsiteY9" fmla="*/ 410718 h 2296763"/>
                <a:gd name="connsiteX10" fmla="*/ 16288 w 2214943"/>
                <a:gd name="connsiteY10" fmla="*/ 800195 h 22967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214943" h="2296763">
                  <a:moveTo>
                    <a:pt x="16192" y="800195"/>
                  </a:moveTo>
                  <a:cubicBezTo>
                    <a:pt x="22288" y="800195"/>
                    <a:pt x="28384" y="800100"/>
                    <a:pt x="34385" y="800100"/>
                  </a:cubicBezTo>
                  <a:cubicBezTo>
                    <a:pt x="370713" y="800100"/>
                    <a:pt x="695516" y="922306"/>
                    <a:pt x="948880" y="1144334"/>
                  </a:cubicBezTo>
                  <a:cubicBezTo>
                    <a:pt x="1195864" y="1360742"/>
                    <a:pt x="1358455" y="1656493"/>
                    <a:pt x="1407700" y="1978533"/>
                  </a:cubicBezTo>
                  <a:lnTo>
                    <a:pt x="1819751" y="2296763"/>
                  </a:lnTo>
                  <a:lnTo>
                    <a:pt x="2214944" y="1991678"/>
                  </a:lnTo>
                  <a:cubicBezTo>
                    <a:pt x="2169700" y="1483328"/>
                    <a:pt x="1945577" y="1004411"/>
                    <a:pt x="1582484" y="641223"/>
                  </a:cubicBezTo>
                  <a:cubicBezTo>
                    <a:pt x="1168908" y="227743"/>
                    <a:pt x="619125" y="0"/>
                    <a:pt x="34385" y="0"/>
                  </a:cubicBezTo>
                  <a:cubicBezTo>
                    <a:pt x="22860" y="0"/>
                    <a:pt x="11430" y="0"/>
                    <a:pt x="0" y="286"/>
                  </a:cubicBezTo>
                  <a:lnTo>
                    <a:pt x="317087" y="410718"/>
                  </a:lnTo>
                  <a:lnTo>
                    <a:pt x="16288" y="80019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53" name="Freihandform: Form 94">
              <a:extLst>
                <a:ext uri="{FF2B5EF4-FFF2-40B4-BE49-F238E27FC236}">
                  <a16:creationId xmlns:a16="http://schemas.microsoft.com/office/drawing/2014/main" id="{81A1302A-5580-3D5C-B8B0-71A663F5B552}"/>
                </a:ext>
              </a:extLst>
            </p:cNvPr>
            <p:cNvSpPr>
              <a:spLocks/>
            </p:cNvSpPr>
            <p:nvPr/>
          </p:nvSpPr>
          <p:spPr>
            <a:xfrm>
              <a:off x="5993891" y="3391757"/>
              <a:ext cx="2290095" cy="2215515"/>
            </a:xfrm>
            <a:custGeom>
              <a:avLst/>
              <a:gdLst>
                <a:gd name="connsiteX0" fmla="*/ 2289810 w 2290095"/>
                <a:gd name="connsiteY0" fmla="*/ 0 h 2215515"/>
                <a:gd name="connsiteX1" fmla="*/ 1886045 w 2290095"/>
                <a:gd name="connsiteY1" fmla="*/ 311753 h 2215515"/>
                <a:gd name="connsiteX2" fmla="*/ 1489710 w 2290095"/>
                <a:gd name="connsiteY2" fmla="*/ 5620 h 2215515"/>
                <a:gd name="connsiteX3" fmla="*/ 1489996 w 2290095"/>
                <a:gd name="connsiteY3" fmla="*/ 35909 h 2215515"/>
                <a:gd name="connsiteX4" fmla="*/ 1146334 w 2290095"/>
                <a:gd name="connsiteY4" fmla="*/ 949738 h 2215515"/>
                <a:gd name="connsiteX5" fmla="*/ 313277 w 2290095"/>
                <a:gd name="connsiteY5" fmla="*/ 1408938 h 2215515"/>
                <a:gd name="connsiteX6" fmla="*/ 0 w 2290095"/>
                <a:gd name="connsiteY6" fmla="*/ 1814608 h 2215515"/>
                <a:gd name="connsiteX7" fmla="*/ 309658 w 2290095"/>
                <a:gd name="connsiteY7" fmla="*/ 2215515 h 2215515"/>
                <a:gd name="connsiteX8" fmla="*/ 1648778 w 2290095"/>
                <a:gd name="connsiteY8" fmla="*/ 1584008 h 2215515"/>
                <a:gd name="connsiteX9" fmla="*/ 2290096 w 2290095"/>
                <a:gd name="connsiteY9" fmla="*/ 35909 h 2215515"/>
                <a:gd name="connsiteX10" fmla="*/ 2289810 w 2290095"/>
                <a:gd name="connsiteY10" fmla="*/ 95 h 2215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290095" h="2215515">
                  <a:moveTo>
                    <a:pt x="2289810" y="0"/>
                  </a:moveTo>
                  <a:lnTo>
                    <a:pt x="1886045" y="311753"/>
                  </a:lnTo>
                  <a:lnTo>
                    <a:pt x="1489710" y="5620"/>
                  </a:lnTo>
                  <a:cubicBezTo>
                    <a:pt x="1489901" y="15716"/>
                    <a:pt x="1489996" y="25813"/>
                    <a:pt x="1489996" y="35909"/>
                  </a:cubicBezTo>
                  <a:cubicBezTo>
                    <a:pt x="1489996" y="371951"/>
                    <a:pt x="1367981" y="696468"/>
                    <a:pt x="1146334" y="949738"/>
                  </a:cubicBezTo>
                  <a:cubicBezTo>
                    <a:pt x="930307" y="1196626"/>
                    <a:pt x="634937" y="1359313"/>
                    <a:pt x="313277" y="1408938"/>
                  </a:cubicBezTo>
                  <a:lnTo>
                    <a:pt x="0" y="1814608"/>
                  </a:lnTo>
                  <a:lnTo>
                    <a:pt x="309658" y="2215515"/>
                  </a:lnTo>
                  <a:cubicBezTo>
                    <a:pt x="813626" y="2167986"/>
                    <a:pt x="1288447" y="1944243"/>
                    <a:pt x="1648778" y="1584008"/>
                  </a:cubicBezTo>
                  <a:cubicBezTo>
                    <a:pt x="2062353" y="1170432"/>
                    <a:pt x="2290096" y="620649"/>
                    <a:pt x="2290096" y="35909"/>
                  </a:cubicBezTo>
                  <a:cubicBezTo>
                    <a:pt x="2290096" y="24194"/>
                    <a:pt x="2290001" y="12192"/>
                    <a:pt x="2289810" y="9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</p:grpSp>
      <p:sp>
        <p:nvSpPr>
          <p:cNvPr id="54" name="Textfeld 2">
            <a:extLst>
              <a:ext uri="{FF2B5EF4-FFF2-40B4-BE49-F238E27FC236}">
                <a16:creationId xmlns:a16="http://schemas.microsoft.com/office/drawing/2014/main" id="{D1FFD52A-2C98-C149-8116-27315C380F6B}"/>
              </a:ext>
            </a:extLst>
          </p:cNvPr>
          <p:cNvSpPr txBox="1">
            <a:spLocks/>
          </p:cNvSpPr>
          <p:nvPr/>
        </p:nvSpPr>
        <p:spPr>
          <a:xfrm rot="18967669">
            <a:off x="9718924" y="1768699"/>
            <a:ext cx="1855385" cy="1870754"/>
          </a:xfrm>
          <a:prstGeom prst="rect">
            <a:avLst/>
          </a:prstGeom>
          <a:noFill/>
        </p:spPr>
        <p:txBody>
          <a:bodyPr spcFirstLastPara="1" wrap="none" lIns="0" tIns="0" rIns="0" bIns="0" numCol="1" rtlCol="0" anchor="ctr">
            <a:prstTxWarp prst="textArchDown">
              <a:avLst>
                <a:gd name="adj" fmla="val 355666"/>
              </a:avLst>
            </a:prstTxWarp>
            <a:spAutoFit/>
          </a:bodyPr>
          <a:lstStyle/>
          <a:p>
            <a:pPr lvl="0" algn="ctr">
              <a:spcBef>
                <a:spcPts val="400"/>
              </a:spcBef>
              <a:buClr>
                <a:srgbClr val="1A7449"/>
              </a:buClr>
              <a:buSzPct val="80000"/>
              <a:defRPr/>
            </a:pPr>
            <a:r>
              <a:rPr lang="en-US" altLang="zh-CN" sz="1200" dirty="0">
                <a:solidFill>
                  <a:srgbClr val="575757"/>
                </a:solidFill>
                <a:ea typeface="Verdana" pitchFamily="34" charset="0"/>
                <a:cs typeface="Verdana" pitchFamily="34" charset="0"/>
              </a:rPr>
              <a:t>{bullet_7}</a:t>
            </a:r>
          </a:p>
        </p:txBody>
      </p:sp>
      <p:sp>
        <p:nvSpPr>
          <p:cNvPr id="55" name="Textfeld 3">
            <a:extLst>
              <a:ext uri="{FF2B5EF4-FFF2-40B4-BE49-F238E27FC236}">
                <a16:creationId xmlns:a16="http://schemas.microsoft.com/office/drawing/2014/main" id="{041E118E-7121-D243-74C2-B50E7D2AFF65}"/>
              </a:ext>
            </a:extLst>
          </p:cNvPr>
          <p:cNvSpPr txBox="1">
            <a:spLocks/>
          </p:cNvSpPr>
          <p:nvPr/>
        </p:nvSpPr>
        <p:spPr>
          <a:xfrm rot="2879968">
            <a:off x="9710909" y="1776711"/>
            <a:ext cx="1871413" cy="1854730"/>
          </a:xfrm>
          <a:prstGeom prst="rect">
            <a:avLst/>
          </a:prstGeom>
          <a:noFill/>
        </p:spPr>
        <p:txBody>
          <a:bodyPr spcFirstLastPara="1" wrap="none" lIns="0" tIns="0" rIns="0" bIns="0" numCol="1" rtlCol="0" anchor="ctr">
            <a:prstTxWarp prst="textArchDown">
              <a:avLst>
                <a:gd name="adj" fmla="val 355666"/>
              </a:avLst>
            </a:prstTxWarp>
            <a:spAutoFit/>
          </a:bodyPr>
          <a:lstStyle/>
          <a:p>
            <a:pPr lvl="0" algn="ctr">
              <a:spcBef>
                <a:spcPts val="400"/>
              </a:spcBef>
              <a:buClr>
                <a:srgbClr val="1A7449"/>
              </a:buClr>
              <a:buSzPct val="80000"/>
              <a:defRPr/>
            </a:pPr>
            <a:r>
              <a:rPr lang="en-US" altLang="zh-CN" sz="1200" dirty="0">
                <a:solidFill>
                  <a:srgbClr val="575757"/>
                </a:solidFill>
                <a:ea typeface="Verdana" pitchFamily="34" charset="0"/>
                <a:cs typeface="Verdana" pitchFamily="34" charset="0"/>
              </a:rPr>
              <a:t>{bullet_6}</a:t>
            </a:r>
          </a:p>
        </p:txBody>
      </p:sp>
      <p:sp>
        <p:nvSpPr>
          <p:cNvPr id="56" name="Textfeld 1">
            <a:extLst>
              <a:ext uri="{FF2B5EF4-FFF2-40B4-BE49-F238E27FC236}">
                <a16:creationId xmlns:a16="http://schemas.microsoft.com/office/drawing/2014/main" id="{5D165754-C327-BCF0-4B45-36131D7CEB89}"/>
              </a:ext>
            </a:extLst>
          </p:cNvPr>
          <p:cNvSpPr txBox="1">
            <a:spLocks/>
          </p:cNvSpPr>
          <p:nvPr/>
        </p:nvSpPr>
        <p:spPr>
          <a:xfrm rot="2826428">
            <a:off x="9710908" y="1776711"/>
            <a:ext cx="1871413" cy="1854730"/>
          </a:xfrm>
          <a:prstGeom prst="rect">
            <a:avLst/>
          </a:prstGeom>
          <a:noFill/>
        </p:spPr>
        <p:txBody>
          <a:bodyPr spcFirstLastPara="1" wrap="none" lIns="0" tIns="0" rIns="0" bIns="0" numCol="1" rtlCol="0" anchor="ctr">
            <a:prstTxWarp prst="textArchUp">
              <a:avLst/>
            </a:prstTxWarp>
            <a:spAutoFit/>
          </a:bodyPr>
          <a:lstStyle/>
          <a:p>
            <a:pPr lvl="0" algn="ctr">
              <a:spcBef>
                <a:spcPts val="400"/>
              </a:spcBef>
              <a:buClr>
                <a:srgbClr val="1A7449"/>
              </a:buClr>
              <a:buSzPct val="80000"/>
              <a:defRPr/>
            </a:pPr>
            <a:r>
              <a:rPr lang="en-US" altLang="zh-CN" sz="1200" dirty="0">
                <a:solidFill>
                  <a:srgbClr val="575757"/>
                </a:solidFill>
                <a:ea typeface="Verdana" pitchFamily="34" charset="0"/>
                <a:cs typeface="Verdana" pitchFamily="34" charset="0"/>
              </a:rPr>
              <a:t>{bullet_5}</a:t>
            </a:r>
          </a:p>
        </p:txBody>
      </p:sp>
      <p:sp>
        <p:nvSpPr>
          <p:cNvPr id="57" name="Textfeld 4">
            <a:extLst>
              <a:ext uri="{FF2B5EF4-FFF2-40B4-BE49-F238E27FC236}">
                <a16:creationId xmlns:a16="http://schemas.microsoft.com/office/drawing/2014/main" id="{3336E707-BE4F-5E31-D18E-93B5578AC77E}"/>
              </a:ext>
            </a:extLst>
          </p:cNvPr>
          <p:cNvSpPr txBox="1">
            <a:spLocks/>
          </p:cNvSpPr>
          <p:nvPr/>
        </p:nvSpPr>
        <p:spPr>
          <a:xfrm rot="19150376">
            <a:off x="9718923" y="1768697"/>
            <a:ext cx="1855385" cy="1870754"/>
          </a:xfrm>
          <a:prstGeom prst="rect">
            <a:avLst/>
          </a:prstGeom>
          <a:noFill/>
        </p:spPr>
        <p:txBody>
          <a:bodyPr spcFirstLastPara="1" wrap="none" lIns="0" tIns="0" rIns="0" bIns="0" numCol="1" rtlCol="0" anchor="ctr">
            <a:prstTxWarp prst="textArchUp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1A7449"/>
              </a:buClr>
              <a:buSzPct val="80000"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理想品牌字体 2022"/>
                <a:ea typeface="Verdana" pitchFamily="34" charset="0"/>
                <a:cs typeface="Verdana" pitchFamily="34" charset="0"/>
              </a:rPr>
              <a:t>Lorem ipsum</a:t>
            </a:r>
          </a:p>
        </p:txBody>
      </p:sp>
      <p:grpSp>
        <p:nvGrpSpPr>
          <p:cNvPr id="59" name="Gruppieren 104">
            <a:extLst>
              <a:ext uri="{FF2B5EF4-FFF2-40B4-BE49-F238E27FC236}">
                <a16:creationId xmlns:a16="http://schemas.microsoft.com/office/drawing/2014/main" id="{FA6A8679-38B9-400F-487F-B41C445D3C0A}"/>
              </a:ext>
            </a:extLst>
          </p:cNvPr>
          <p:cNvGrpSpPr>
            <a:grpSpLocks/>
          </p:cNvGrpSpPr>
          <p:nvPr/>
        </p:nvGrpSpPr>
        <p:grpSpPr>
          <a:xfrm>
            <a:off x="1931424" y="3752213"/>
            <a:ext cx="2307128" cy="2306315"/>
            <a:chOff x="3905250" y="1238250"/>
            <a:chExt cx="4378832" cy="4378737"/>
          </a:xfrm>
          <a:solidFill>
            <a:schemeClr val="bg2"/>
          </a:solidFill>
        </p:grpSpPr>
        <p:sp>
          <p:nvSpPr>
            <p:cNvPr id="60" name="Freihandform: Form 99">
              <a:extLst>
                <a:ext uri="{FF2B5EF4-FFF2-40B4-BE49-F238E27FC236}">
                  <a16:creationId xmlns:a16="http://schemas.microsoft.com/office/drawing/2014/main" id="{911218C5-AA53-3878-A216-962412F12083}"/>
                </a:ext>
              </a:extLst>
            </p:cNvPr>
            <p:cNvSpPr>
              <a:spLocks/>
            </p:cNvSpPr>
            <p:nvPr/>
          </p:nvSpPr>
          <p:spPr>
            <a:xfrm>
              <a:off x="6060281" y="1238250"/>
              <a:ext cx="2048446" cy="1741932"/>
            </a:xfrm>
            <a:custGeom>
              <a:avLst/>
              <a:gdLst>
                <a:gd name="connsiteX0" fmla="*/ 16097 w 2048446"/>
                <a:gd name="connsiteY0" fmla="*/ 800195 h 1741932"/>
                <a:gd name="connsiteX1" fmla="*/ 34290 w 2048446"/>
                <a:gd name="connsiteY1" fmla="*/ 800100 h 1741932"/>
                <a:gd name="connsiteX2" fmla="*/ 779431 w 2048446"/>
                <a:gd name="connsiteY2" fmla="*/ 1017270 h 1741932"/>
                <a:gd name="connsiteX3" fmla="*/ 1276160 w 2048446"/>
                <a:gd name="connsiteY3" fmla="*/ 1566767 h 1741932"/>
                <a:gd name="connsiteX4" fmla="*/ 1765840 w 2048446"/>
                <a:gd name="connsiteY4" fmla="*/ 1741932 h 1741932"/>
                <a:gd name="connsiteX5" fmla="*/ 2048447 w 2048446"/>
                <a:gd name="connsiteY5" fmla="*/ 1328071 h 1741932"/>
                <a:gd name="connsiteX6" fmla="*/ 1582388 w 2048446"/>
                <a:gd name="connsiteY6" fmla="*/ 641318 h 1741932"/>
                <a:gd name="connsiteX7" fmla="*/ 34290 w 2048446"/>
                <a:gd name="connsiteY7" fmla="*/ 0 h 1741932"/>
                <a:gd name="connsiteX8" fmla="*/ 0 w 2048446"/>
                <a:gd name="connsiteY8" fmla="*/ 286 h 1741932"/>
                <a:gd name="connsiteX9" fmla="*/ 316992 w 2048446"/>
                <a:gd name="connsiteY9" fmla="*/ 410718 h 1741932"/>
                <a:gd name="connsiteX10" fmla="*/ 16192 w 2048446"/>
                <a:gd name="connsiteY10" fmla="*/ 800195 h 17419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048446" h="1741932">
                  <a:moveTo>
                    <a:pt x="16097" y="800195"/>
                  </a:moveTo>
                  <a:cubicBezTo>
                    <a:pt x="22193" y="800195"/>
                    <a:pt x="28289" y="800100"/>
                    <a:pt x="34290" y="800100"/>
                  </a:cubicBezTo>
                  <a:cubicBezTo>
                    <a:pt x="298990" y="800100"/>
                    <a:pt x="556736" y="875157"/>
                    <a:pt x="779431" y="1017270"/>
                  </a:cubicBezTo>
                  <a:cubicBezTo>
                    <a:pt x="991743" y="1152716"/>
                    <a:pt x="1163193" y="1342454"/>
                    <a:pt x="1276160" y="1566767"/>
                  </a:cubicBezTo>
                  <a:lnTo>
                    <a:pt x="1765840" y="1741932"/>
                  </a:lnTo>
                  <a:lnTo>
                    <a:pt x="2048447" y="1328071"/>
                  </a:lnTo>
                  <a:cubicBezTo>
                    <a:pt x="1938909" y="1072039"/>
                    <a:pt x="1782223" y="841058"/>
                    <a:pt x="1582388" y="641318"/>
                  </a:cubicBezTo>
                  <a:cubicBezTo>
                    <a:pt x="1168813" y="227743"/>
                    <a:pt x="619030" y="0"/>
                    <a:pt x="34290" y="0"/>
                  </a:cubicBezTo>
                  <a:cubicBezTo>
                    <a:pt x="22860" y="0"/>
                    <a:pt x="11335" y="0"/>
                    <a:pt x="0" y="286"/>
                  </a:cubicBezTo>
                  <a:lnTo>
                    <a:pt x="316992" y="410718"/>
                  </a:lnTo>
                  <a:lnTo>
                    <a:pt x="16192" y="80019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61" name="Freihandform: Form 100">
              <a:extLst>
                <a:ext uri="{FF2B5EF4-FFF2-40B4-BE49-F238E27FC236}">
                  <a16:creationId xmlns:a16="http://schemas.microsoft.com/office/drawing/2014/main" id="{0D09B1C2-F40D-09CE-25C5-63B11579EC69}"/>
                </a:ext>
              </a:extLst>
            </p:cNvPr>
            <p:cNvSpPr>
              <a:spLocks/>
            </p:cNvSpPr>
            <p:nvPr/>
          </p:nvSpPr>
          <p:spPr>
            <a:xfrm>
              <a:off x="4969002" y="4530661"/>
              <a:ext cx="2447734" cy="1086326"/>
            </a:xfrm>
            <a:custGeom>
              <a:avLst/>
              <a:gdLst>
                <a:gd name="connsiteX0" fmla="*/ 1969199 w 2447734"/>
                <a:gd name="connsiteY0" fmla="*/ 0 h 1086326"/>
                <a:gd name="connsiteX1" fmla="*/ 1125569 w 2447734"/>
                <a:gd name="connsiteY1" fmla="*/ 286226 h 1086326"/>
                <a:gd name="connsiteX2" fmla="*/ 486537 w 2447734"/>
                <a:gd name="connsiteY2" fmla="*/ 130207 h 1086326"/>
                <a:gd name="connsiteX3" fmla="*/ 0 w 2447734"/>
                <a:gd name="connsiteY3" fmla="*/ 272796 h 1086326"/>
                <a:gd name="connsiteX4" fmla="*/ 14954 w 2447734"/>
                <a:gd name="connsiteY4" fmla="*/ 784765 h 1086326"/>
                <a:gd name="connsiteX5" fmla="*/ 1125569 w 2447734"/>
                <a:gd name="connsiteY5" fmla="*/ 1086326 h 1086326"/>
                <a:gd name="connsiteX6" fmla="*/ 2447735 w 2447734"/>
                <a:gd name="connsiteY6" fmla="*/ 642461 h 1086326"/>
                <a:gd name="connsiteX7" fmla="*/ 1954625 w 2447734"/>
                <a:gd name="connsiteY7" fmla="*/ 498062 h 1086326"/>
                <a:gd name="connsiteX8" fmla="*/ 1969199 w 2447734"/>
                <a:gd name="connsiteY8" fmla="*/ 0 h 10863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447734" h="1086326">
                  <a:moveTo>
                    <a:pt x="1969199" y="0"/>
                  </a:moveTo>
                  <a:cubicBezTo>
                    <a:pt x="1727549" y="185166"/>
                    <a:pt x="1431131" y="286226"/>
                    <a:pt x="1125569" y="286226"/>
                  </a:cubicBezTo>
                  <a:cubicBezTo>
                    <a:pt x="903256" y="286226"/>
                    <a:pt x="682657" y="232315"/>
                    <a:pt x="486537" y="130207"/>
                  </a:cubicBezTo>
                  <a:lnTo>
                    <a:pt x="0" y="272796"/>
                  </a:lnTo>
                  <a:lnTo>
                    <a:pt x="14954" y="784765"/>
                  </a:lnTo>
                  <a:cubicBezTo>
                    <a:pt x="349186" y="982123"/>
                    <a:pt x="732758" y="1086326"/>
                    <a:pt x="1125569" y="1086326"/>
                  </a:cubicBezTo>
                  <a:cubicBezTo>
                    <a:pt x="1610678" y="1086326"/>
                    <a:pt x="2066258" y="933069"/>
                    <a:pt x="2447735" y="642461"/>
                  </a:cubicBezTo>
                  <a:lnTo>
                    <a:pt x="1954625" y="498062"/>
                  </a:lnTo>
                  <a:lnTo>
                    <a:pt x="1969199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62" name="Freihandform: Form 101">
              <a:extLst>
                <a:ext uri="{FF2B5EF4-FFF2-40B4-BE49-F238E27FC236}">
                  <a16:creationId xmlns:a16="http://schemas.microsoft.com/office/drawing/2014/main" id="{B891A82F-52B0-1A6F-3B54-CE50CED01342}"/>
                </a:ext>
              </a:extLst>
            </p:cNvPr>
            <p:cNvSpPr>
              <a:spLocks/>
            </p:cNvSpPr>
            <p:nvPr/>
          </p:nvSpPr>
          <p:spPr>
            <a:xfrm>
              <a:off x="7060025" y="2717577"/>
              <a:ext cx="1224057" cy="2353151"/>
            </a:xfrm>
            <a:custGeom>
              <a:avLst/>
              <a:gdLst>
                <a:gd name="connsiteX0" fmla="*/ 1106805 w 1224057"/>
                <a:gd name="connsiteY0" fmla="*/ 0 h 2353151"/>
                <a:gd name="connsiteX1" fmla="*/ 818197 w 1224057"/>
                <a:gd name="connsiteY1" fmla="*/ 422815 h 2353151"/>
                <a:gd name="connsiteX2" fmla="*/ 347186 w 1224057"/>
                <a:gd name="connsiteY2" fmla="*/ 254317 h 2353151"/>
                <a:gd name="connsiteX3" fmla="*/ 423958 w 1224057"/>
                <a:gd name="connsiteY3" fmla="*/ 709994 h 2353151"/>
                <a:gd name="connsiteX4" fmla="*/ 15145 w 1224057"/>
                <a:gd name="connsiteY4" fmla="*/ 1693355 h 2353151"/>
                <a:gd name="connsiteX5" fmla="*/ 0 w 1224057"/>
                <a:gd name="connsiteY5" fmla="*/ 2212086 h 2353151"/>
                <a:gd name="connsiteX6" fmla="*/ 481584 w 1224057"/>
                <a:gd name="connsiteY6" fmla="*/ 2353151 h 2353151"/>
                <a:gd name="connsiteX7" fmla="*/ 582740 w 1224057"/>
                <a:gd name="connsiteY7" fmla="*/ 2258092 h 2353151"/>
                <a:gd name="connsiteX8" fmla="*/ 1224058 w 1224057"/>
                <a:gd name="connsiteY8" fmla="*/ 709994 h 2353151"/>
                <a:gd name="connsiteX9" fmla="*/ 1106901 w 1224057"/>
                <a:gd name="connsiteY9" fmla="*/ 0 h 2353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224057" h="2353151">
                  <a:moveTo>
                    <a:pt x="1106805" y="0"/>
                  </a:moveTo>
                  <a:lnTo>
                    <a:pt x="818197" y="422815"/>
                  </a:lnTo>
                  <a:lnTo>
                    <a:pt x="347186" y="254317"/>
                  </a:lnTo>
                  <a:cubicBezTo>
                    <a:pt x="398145" y="400431"/>
                    <a:pt x="423958" y="553307"/>
                    <a:pt x="423958" y="709994"/>
                  </a:cubicBezTo>
                  <a:cubicBezTo>
                    <a:pt x="423958" y="1081945"/>
                    <a:pt x="278892" y="1430560"/>
                    <a:pt x="15145" y="1693355"/>
                  </a:cubicBezTo>
                  <a:lnTo>
                    <a:pt x="0" y="2212086"/>
                  </a:lnTo>
                  <a:lnTo>
                    <a:pt x="481584" y="2353151"/>
                  </a:lnTo>
                  <a:cubicBezTo>
                    <a:pt x="516255" y="2322576"/>
                    <a:pt x="550164" y="2290667"/>
                    <a:pt x="582740" y="2258092"/>
                  </a:cubicBezTo>
                  <a:cubicBezTo>
                    <a:pt x="996315" y="1844516"/>
                    <a:pt x="1224058" y="1294733"/>
                    <a:pt x="1224058" y="709994"/>
                  </a:cubicBezTo>
                  <a:cubicBezTo>
                    <a:pt x="1224058" y="465677"/>
                    <a:pt x="1184624" y="227267"/>
                    <a:pt x="1106901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63" name="Freihandform: Form 102">
              <a:extLst>
                <a:ext uri="{FF2B5EF4-FFF2-40B4-BE49-F238E27FC236}">
                  <a16:creationId xmlns:a16="http://schemas.microsoft.com/office/drawing/2014/main" id="{245DB2B6-4559-7AF2-E615-763A8B9F9162}"/>
                </a:ext>
              </a:extLst>
            </p:cNvPr>
            <p:cNvSpPr>
              <a:spLocks/>
            </p:cNvSpPr>
            <p:nvPr/>
          </p:nvSpPr>
          <p:spPr>
            <a:xfrm>
              <a:off x="3998023" y="1246917"/>
              <a:ext cx="2210657" cy="1768221"/>
            </a:xfrm>
            <a:custGeom>
              <a:avLst/>
              <a:gdLst>
                <a:gd name="connsiteX0" fmla="*/ 496919 w 2210657"/>
                <a:gd name="connsiteY0" fmla="*/ 1368647 h 1768221"/>
                <a:gd name="connsiteX1" fmla="*/ 769811 w 2210657"/>
                <a:gd name="connsiteY1" fmla="*/ 1768221 h 1768221"/>
                <a:gd name="connsiteX2" fmla="*/ 1168146 w 2210657"/>
                <a:gd name="connsiteY2" fmla="*/ 1147953 h 1768221"/>
                <a:gd name="connsiteX3" fmla="*/ 1899190 w 2210657"/>
                <a:gd name="connsiteY3" fmla="*/ 805339 h 1768221"/>
                <a:gd name="connsiteX4" fmla="*/ 2210657 w 2210657"/>
                <a:gd name="connsiteY4" fmla="*/ 401955 h 1768221"/>
                <a:gd name="connsiteX5" fmla="*/ 1900238 w 2210657"/>
                <a:gd name="connsiteY5" fmla="*/ 0 h 1768221"/>
                <a:gd name="connsiteX6" fmla="*/ 548354 w 2210657"/>
                <a:gd name="connsiteY6" fmla="*/ 632555 h 1768221"/>
                <a:gd name="connsiteX7" fmla="*/ 0 w 2210657"/>
                <a:gd name="connsiteY7" fmla="*/ 1546384 h 1768221"/>
                <a:gd name="connsiteX8" fmla="*/ 496919 w 2210657"/>
                <a:gd name="connsiteY8" fmla="*/ 1368647 h 17682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210657" h="1768221">
                  <a:moveTo>
                    <a:pt x="496919" y="1368647"/>
                  </a:moveTo>
                  <a:lnTo>
                    <a:pt x="769811" y="1768221"/>
                  </a:lnTo>
                  <a:cubicBezTo>
                    <a:pt x="843820" y="1530096"/>
                    <a:pt x="980408" y="1316927"/>
                    <a:pt x="1168146" y="1147953"/>
                  </a:cubicBezTo>
                  <a:cubicBezTo>
                    <a:pt x="1374267" y="962501"/>
                    <a:pt x="1626680" y="844201"/>
                    <a:pt x="1899190" y="805339"/>
                  </a:cubicBezTo>
                  <a:lnTo>
                    <a:pt x="2210657" y="401955"/>
                  </a:lnTo>
                  <a:lnTo>
                    <a:pt x="1900238" y="0"/>
                  </a:lnTo>
                  <a:cubicBezTo>
                    <a:pt x="1391222" y="45053"/>
                    <a:pt x="911924" y="269177"/>
                    <a:pt x="548354" y="632555"/>
                  </a:cubicBezTo>
                  <a:cubicBezTo>
                    <a:pt x="291941" y="888968"/>
                    <a:pt x="103346" y="1203674"/>
                    <a:pt x="0" y="1546384"/>
                  </a:cubicBezTo>
                  <a:lnTo>
                    <a:pt x="496919" y="1368647"/>
                  </a:ln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64" name="Freihandform: Form 103">
              <a:extLst>
                <a:ext uri="{FF2B5EF4-FFF2-40B4-BE49-F238E27FC236}">
                  <a16:creationId xmlns:a16="http://schemas.microsoft.com/office/drawing/2014/main" id="{CE9F18BB-B10E-19EB-C777-DC3967718AA9}"/>
                </a:ext>
              </a:extLst>
            </p:cNvPr>
            <p:cNvSpPr>
              <a:spLocks/>
            </p:cNvSpPr>
            <p:nvPr/>
          </p:nvSpPr>
          <p:spPr>
            <a:xfrm>
              <a:off x="3905250" y="2775775"/>
              <a:ext cx="1395603" cy="2452401"/>
            </a:xfrm>
            <a:custGeom>
              <a:avLst/>
              <a:gdLst>
                <a:gd name="connsiteX0" fmla="*/ 942785 w 1395603"/>
                <a:gd name="connsiteY0" fmla="*/ 2452402 h 2452401"/>
                <a:gd name="connsiteX1" fmla="*/ 927449 w 1395603"/>
                <a:gd name="connsiteY1" fmla="*/ 1928622 h 2452401"/>
                <a:gd name="connsiteX2" fmla="*/ 1395603 w 1395603"/>
                <a:gd name="connsiteY2" fmla="*/ 1791462 h 2452401"/>
                <a:gd name="connsiteX3" fmla="*/ 983361 w 1395603"/>
                <a:gd name="connsiteY3" fmla="*/ 1340930 h 2452401"/>
                <a:gd name="connsiteX4" fmla="*/ 800100 w 1395603"/>
                <a:gd name="connsiteY4" fmla="*/ 651796 h 2452401"/>
                <a:gd name="connsiteX5" fmla="*/ 820388 w 1395603"/>
                <a:gd name="connsiteY5" fmla="*/ 414147 h 2452401"/>
                <a:gd name="connsiteX6" fmla="*/ 537591 w 1395603"/>
                <a:gd name="connsiteY6" fmla="*/ 0 h 2452401"/>
                <a:gd name="connsiteX7" fmla="*/ 52007 w 1395603"/>
                <a:gd name="connsiteY7" fmla="*/ 173736 h 2452401"/>
                <a:gd name="connsiteX8" fmla="*/ 0 w 1395603"/>
                <a:gd name="connsiteY8" fmla="*/ 651796 h 2452401"/>
                <a:gd name="connsiteX9" fmla="*/ 641223 w 1395603"/>
                <a:gd name="connsiteY9" fmla="*/ 2199894 h 2452401"/>
                <a:gd name="connsiteX10" fmla="*/ 942880 w 1395603"/>
                <a:gd name="connsiteY10" fmla="*/ 2452402 h 2452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395603" h="2452401">
                  <a:moveTo>
                    <a:pt x="942785" y="2452402"/>
                  </a:moveTo>
                  <a:lnTo>
                    <a:pt x="927449" y="1928622"/>
                  </a:lnTo>
                  <a:lnTo>
                    <a:pt x="1395603" y="1791462"/>
                  </a:lnTo>
                  <a:cubicBezTo>
                    <a:pt x="1227201" y="1673733"/>
                    <a:pt x="1085660" y="1519333"/>
                    <a:pt x="983361" y="1340930"/>
                  </a:cubicBezTo>
                  <a:cubicBezTo>
                    <a:pt x="863537" y="1131951"/>
                    <a:pt x="800100" y="893636"/>
                    <a:pt x="800100" y="651796"/>
                  </a:cubicBezTo>
                  <a:cubicBezTo>
                    <a:pt x="800100" y="571976"/>
                    <a:pt x="806958" y="492157"/>
                    <a:pt x="820388" y="414147"/>
                  </a:cubicBezTo>
                  <a:lnTo>
                    <a:pt x="537591" y="0"/>
                  </a:lnTo>
                  <a:lnTo>
                    <a:pt x="52007" y="173736"/>
                  </a:lnTo>
                  <a:cubicBezTo>
                    <a:pt x="17526" y="329470"/>
                    <a:pt x="0" y="490252"/>
                    <a:pt x="0" y="651796"/>
                  </a:cubicBezTo>
                  <a:cubicBezTo>
                    <a:pt x="0" y="1236631"/>
                    <a:pt x="227743" y="1786414"/>
                    <a:pt x="641223" y="2199894"/>
                  </a:cubicBezTo>
                  <a:cubicBezTo>
                    <a:pt x="734282" y="2292953"/>
                    <a:pt x="835533" y="2377726"/>
                    <a:pt x="942880" y="2452402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</p:grpSp>
      <p:sp>
        <p:nvSpPr>
          <p:cNvPr id="65" name="Textfeld 5">
            <a:extLst>
              <a:ext uri="{FF2B5EF4-FFF2-40B4-BE49-F238E27FC236}">
                <a16:creationId xmlns:a16="http://schemas.microsoft.com/office/drawing/2014/main" id="{3BB0A60B-F7FE-DBDE-01B6-93C151FABE84}"/>
              </a:ext>
            </a:extLst>
          </p:cNvPr>
          <p:cNvSpPr txBox="1">
            <a:spLocks/>
          </p:cNvSpPr>
          <p:nvPr/>
        </p:nvSpPr>
        <p:spPr>
          <a:xfrm rot="19531624">
            <a:off x="2149280" y="3969336"/>
            <a:ext cx="1871415" cy="1872071"/>
          </a:xfrm>
          <a:prstGeom prst="rect">
            <a:avLst/>
          </a:prstGeom>
          <a:noFill/>
        </p:spPr>
        <p:txBody>
          <a:bodyPr spcFirstLastPara="1" wrap="none" lIns="0" tIns="0" rIns="0" bIns="0" numCol="1" rtlCol="0" anchor="ctr">
            <a:prstTxWarp prst="textArchUp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1A7449"/>
              </a:buClr>
              <a:buSzPct val="80000"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理想品牌字体 2022"/>
                <a:ea typeface="Verdana" pitchFamily="34" charset="0"/>
                <a:cs typeface="Verdana" pitchFamily="34" charset="0"/>
              </a:rPr>
              <a:t>Lorem</a:t>
            </a:r>
          </a:p>
        </p:txBody>
      </p:sp>
      <p:sp>
        <p:nvSpPr>
          <p:cNvPr id="66" name="Textfeld 1">
            <a:extLst>
              <a:ext uri="{FF2B5EF4-FFF2-40B4-BE49-F238E27FC236}">
                <a16:creationId xmlns:a16="http://schemas.microsoft.com/office/drawing/2014/main" id="{E15D69FE-D52C-9065-5661-5F94BDCD2A93}"/>
              </a:ext>
            </a:extLst>
          </p:cNvPr>
          <p:cNvSpPr txBox="1">
            <a:spLocks/>
          </p:cNvSpPr>
          <p:nvPr/>
        </p:nvSpPr>
        <p:spPr>
          <a:xfrm rot="2202261">
            <a:off x="2149280" y="3969335"/>
            <a:ext cx="1871415" cy="1872071"/>
          </a:xfrm>
          <a:prstGeom prst="rect">
            <a:avLst/>
          </a:prstGeom>
          <a:noFill/>
        </p:spPr>
        <p:txBody>
          <a:bodyPr spcFirstLastPara="1" wrap="none" lIns="0" tIns="0" rIns="0" bIns="0" numCol="1" rtlCol="0" anchor="ctr">
            <a:prstTxWarp prst="textArchUp">
              <a:avLst/>
            </a:prstTxWarp>
            <a:spAutoFit/>
          </a:bodyPr>
          <a:lstStyle/>
          <a:p>
            <a:pPr lvl="0" algn="ctr">
              <a:spcBef>
                <a:spcPts val="400"/>
              </a:spcBef>
              <a:buClr>
                <a:srgbClr val="1A7449"/>
              </a:buClr>
              <a:buSzPct val="80000"/>
              <a:defRPr/>
            </a:pPr>
            <a:r>
              <a:rPr lang="en-US" altLang="zh-CN" sz="1200" dirty="0">
                <a:solidFill>
                  <a:srgbClr val="575757"/>
                </a:solidFill>
                <a:ea typeface="Verdana" pitchFamily="34" charset="0"/>
                <a:cs typeface="Verdana" pitchFamily="34" charset="0"/>
              </a:rPr>
              <a:t>{bullet_10}</a:t>
            </a:r>
          </a:p>
        </p:txBody>
      </p:sp>
      <p:sp>
        <p:nvSpPr>
          <p:cNvPr id="67" name="Textfeld 2">
            <a:extLst>
              <a:ext uri="{FF2B5EF4-FFF2-40B4-BE49-F238E27FC236}">
                <a16:creationId xmlns:a16="http://schemas.microsoft.com/office/drawing/2014/main" id="{AD6DF599-336B-7AE4-ED3B-29A206EB1D2F}"/>
              </a:ext>
            </a:extLst>
          </p:cNvPr>
          <p:cNvSpPr txBox="1">
            <a:spLocks/>
          </p:cNvSpPr>
          <p:nvPr/>
        </p:nvSpPr>
        <p:spPr>
          <a:xfrm rot="17306213">
            <a:off x="2169508" y="3990852"/>
            <a:ext cx="1830962" cy="1829036"/>
          </a:xfrm>
          <a:prstGeom prst="rect">
            <a:avLst/>
          </a:prstGeom>
          <a:noFill/>
        </p:spPr>
        <p:txBody>
          <a:bodyPr spcFirstLastPara="1" wrap="none" lIns="0" tIns="0" rIns="0" bIns="0" numCol="1" rtlCol="0" anchor="ctr">
            <a:prstTxWarp prst="textArchDown">
              <a:avLst/>
            </a:prstTxWarp>
            <a:spAutoFit/>
          </a:bodyPr>
          <a:lstStyle/>
          <a:p>
            <a:pPr lvl="0" algn="ctr">
              <a:spcBef>
                <a:spcPts val="400"/>
              </a:spcBef>
              <a:buClr>
                <a:srgbClr val="1A7449"/>
              </a:buClr>
              <a:buSzPct val="80000"/>
              <a:defRPr/>
            </a:pPr>
            <a:r>
              <a:rPr lang="en-US" altLang="zh-CN" sz="1200" dirty="0">
                <a:solidFill>
                  <a:srgbClr val="575757"/>
                </a:solidFill>
                <a:ea typeface="Verdana" pitchFamily="34" charset="0"/>
                <a:cs typeface="Verdana" pitchFamily="34" charset="0"/>
              </a:rPr>
              <a:t>{bullet_11}</a:t>
            </a:r>
          </a:p>
        </p:txBody>
      </p:sp>
      <p:sp>
        <p:nvSpPr>
          <p:cNvPr id="68" name="Textfeld 4">
            <a:extLst>
              <a:ext uri="{FF2B5EF4-FFF2-40B4-BE49-F238E27FC236}">
                <a16:creationId xmlns:a16="http://schemas.microsoft.com/office/drawing/2014/main" id="{9EEAC94A-E38D-C862-46B0-7D6EFC297034}"/>
              </a:ext>
            </a:extLst>
          </p:cNvPr>
          <p:cNvSpPr txBox="1">
            <a:spLocks/>
          </p:cNvSpPr>
          <p:nvPr/>
        </p:nvSpPr>
        <p:spPr>
          <a:xfrm rot="4338563">
            <a:off x="2123508" y="4006900"/>
            <a:ext cx="1830962" cy="1829036"/>
          </a:xfrm>
          <a:prstGeom prst="rect">
            <a:avLst/>
          </a:prstGeom>
          <a:noFill/>
        </p:spPr>
        <p:txBody>
          <a:bodyPr spcFirstLastPara="1" wrap="none" lIns="0" tIns="0" rIns="0" bIns="0" numCol="1" rtlCol="0" anchor="ctr">
            <a:prstTxWarp prst="textArchDown">
              <a:avLst/>
            </a:prstTxWarp>
            <a:spAutoFit/>
          </a:bodyPr>
          <a:lstStyle/>
          <a:p>
            <a:pPr algn="ctr">
              <a:spcBef>
                <a:spcPts val="400"/>
              </a:spcBef>
              <a:buClr>
                <a:srgbClr val="1A7449"/>
              </a:buClr>
              <a:buSzPct val="80000"/>
            </a:pPr>
            <a:r>
              <a:rPr lang="en-US" altLang="zh-CN" sz="1200" dirty="0">
                <a:solidFill>
                  <a:srgbClr val="575757"/>
                </a:solidFill>
                <a:ea typeface="Verdana" pitchFamily="34" charset="0"/>
                <a:cs typeface="Verdana" pitchFamily="34" charset="0"/>
              </a:rPr>
              <a:t>{bullet_9}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1A7449"/>
              </a:buClr>
              <a:buSzPct val="80000"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Verdana" pitchFamily="34" charset="0"/>
              <a:cs typeface="Verdana" pitchFamily="34" charset="0"/>
            </a:endParaRPr>
          </a:p>
        </p:txBody>
      </p:sp>
      <p:sp>
        <p:nvSpPr>
          <p:cNvPr id="69" name="Textfeld 3">
            <a:extLst>
              <a:ext uri="{FF2B5EF4-FFF2-40B4-BE49-F238E27FC236}">
                <a16:creationId xmlns:a16="http://schemas.microsoft.com/office/drawing/2014/main" id="{C46510E4-2F00-0AAC-0365-7C630F78BBF0}"/>
              </a:ext>
            </a:extLst>
          </p:cNvPr>
          <p:cNvSpPr txBox="1">
            <a:spLocks/>
          </p:cNvSpPr>
          <p:nvPr/>
        </p:nvSpPr>
        <p:spPr>
          <a:xfrm>
            <a:off x="2156051" y="4018367"/>
            <a:ext cx="1829678" cy="1830321"/>
          </a:xfrm>
          <a:prstGeom prst="rect">
            <a:avLst/>
          </a:prstGeom>
          <a:noFill/>
        </p:spPr>
        <p:txBody>
          <a:bodyPr spcFirstLastPara="1" wrap="none" lIns="0" tIns="0" rIns="0" bIns="0" numCol="1" rtlCol="0" anchor="ctr">
            <a:prstTxWarp prst="textArchDown">
              <a:avLst/>
            </a:prstTxWarp>
            <a:spAutoFit/>
          </a:bodyPr>
          <a:lstStyle/>
          <a:p>
            <a:pPr lvl="0" algn="ctr">
              <a:spcBef>
                <a:spcPts val="400"/>
              </a:spcBef>
              <a:buClr>
                <a:srgbClr val="1A7449"/>
              </a:buClr>
              <a:buSzPct val="80000"/>
              <a:defRPr/>
            </a:pPr>
            <a:r>
              <a:rPr lang="en-US" altLang="zh-CN" sz="1200" dirty="0">
                <a:solidFill>
                  <a:srgbClr val="575757"/>
                </a:solidFill>
                <a:ea typeface="Verdana" pitchFamily="34" charset="0"/>
                <a:cs typeface="Verdana" pitchFamily="34" charset="0"/>
              </a:rPr>
              <a:t>{bullet_8}</a:t>
            </a:r>
          </a:p>
        </p:txBody>
      </p:sp>
      <p:sp>
        <p:nvSpPr>
          <p:cNvPr id="73" name="01">
            <a:extLst>
              <a:ext uri="{FF2B5EF4-FFF2-40B4-BE49-F238E27FC236}">
                <a16:creationId xmlns:a16="http://schemas.microsoft.com/office/drawing/2014/main" id="{A56281D6-7CE0-3BAF-B4CF-83470EE0B858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834697" y="1966369"/>
            <a:ext cx="1475934" cy="1475413"/>
          </a:xfrm>
          <a:prstGeom prst="ellipse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5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lang="zh-CN" altLang="en-US" dirty="0">
                <a:solidFill>
                  <a:srgbClr val="1A7449"/>
                </a:solidFill>
                <a:latin typeface="理想品牌字体 2022"/>
                <a:ea typeface="理想品牌字体 2022"/>
                <a:sym typeface="Futura"/>
              </a:rPr>
              <a:t>一个部分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03522D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  <a:sym typeface="Futura"/>
            </a:endParaRPr>
          </a:p>
        </p:txBody>
      </p:sp>
      <p:sp>
        <p:nvSpPr>
          <p:cNvPr id="74" name="02">
            <a:extLst>
              <a:ext uri="{FF2B5EF4-FFF2-40B4-BE49-F238E27FC236}">
                <a16:creationId xmlns:a16="http://schemas.microsoft.com/office/drawing/2014/main" id="{014EE35B-20D6-DA9A-8A79-6A1F46012801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3859343" y="1966369"/>
            <a:ext cx="1475934" cy="1475413"/>
          </a:xfrm>
          <a:prstGeom prst="ellipse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5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两个部分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03522D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  <a:sym typeface="Futura"/>
            </a:endParaRPr>
          </a:p>
        </p:txBody>
      </p:sp>
      <p:sp>
        <p:nvSpPr>
          <p:cNvPr id="75" name="03">
            <a:extLst>
              <a:ext uri="{FF2B5EF4-FFF2-40B4-BE49-F238E27FC236}">
                <a16:creationId xmlns:a16="http://schemas.microsoft.com/office/drawing/2014/main" id="{E52977A4-8850-9BA7-C4C2-80E54F820F84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6884001" y="1966369"/>
            <a:ext cx="1512321" cy="1475413"/>
          </a:xfrm>
          <a:prstGeom prst="ellipse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5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三个部分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03522D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  <a:sym typeface="Futura"/>
            </a:endParaRPr>
          </a:p>
        </p:txBody>
      </p:sp>
      <p:sp>
        <p:nvSpPr>
          <p:cNvPr id="76" name="05">
            <a:extLst>
              <a:ext uri="{FF2B5EF4-FFF2-40B4-BE49-F238E27FC236}">
                <a16:creationId xmlns:a16="http://schemas.microsoft.com/office/drawing/2014/main" id="{C8A1547A-976C-7BC7-ED26-76B1A0792032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2389769" y="4211647"/>
            <a:ext cx="1475934" cy="1475413"/>
          </a:xfrm>
          <a:prstGeom prst="ellipse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5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五个部分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1A7449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  <a:sym typeface="Futura"/>
            </a:endParaRPr>
          </a:p>
        </p:txBody>
      </p:sp>
      <p:sp>
        <p:nvSpPr>
          <p:cNvPr id="77" name="06">
            <a:extLst>
              <a:ext uri="{FF2B5EF4-FFF2-40B4-BE49-F238E27FC236}">
                <a16:creationId xmlns:a16="http://schemas.microsoft.com/office/drawing/2014/main" id="{E85BE717-DF54-11A0-D3CD-2969C8C84967}"/>
              </a:ext>
            </a:extLst>
          </p:cNvPr>
          <p:cNvSpPr txBox="1">
            <a:spLocks noChangeAspect="1"/>
          </p:cNvSpPr>
          <p:nvPr>
            <p:custDataLst>
              <p:tags r:id="rId7"/>
            </p:custDataLst>
          </p:nvPr>
        </p:nvSpPr>
        <p:spPr>
          <a:xfrm>
            <a:off x="5364293" y="4160288"/>
            <a:ext cx="1490693" cy="1490168"/>
          </a:xfrm>
          <a:prstGeom prst="ellipse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5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六个部分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03522D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  <a:sym typeface="Futura"/>
            </a:endParaRPr>
          </a:p>
        </p:txBody>
      </p:sp>
      <p:sp>
        <p:nvSpPr>
          <p:cNvPr id="78" name="07">
            <a:extLst>
              <a:ext uri="{FF2B5EF4-FFF2-40B4-BE49-F238E27FC236}">
                <a16:creationId xmlns:a16="http://schemas.microsoft.com/office/drawing/2014/main" id="{E5E69AD9-59A0-BA59-10EC-926263B72D04}"/>
              </a:ext>
            </a:extLst>
          </p:cNvPr>
          <p:cNvSpPr txBox="1">
            <a:spLocks/>
          </p:cNvSpPr>
          <p:nvPr>
            <p:custDataLst>
              <p:tags r:id="rId8"/>
            </p:custDataLst>
          </p:nvPr>
        </p:nvSpPr>
        <p:spPr>
          <a:xfrm>
            <a:off x="8396323" y="4167664"/>
            <a:ext cx="1475934" cy="1475413"/>
          </a:xfrm>
          <a:prstGeom prst="ellipse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5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七个部分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03522D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  <a:sym typeface="Futura"/>
            </a:endParaRPr>
          </a:p>
        </p:txBody>
      </p:sp>
      <p:sp>
        <p:nvSpPr>
          <p:cNvPr id="79" name="04">
            <a:extLst>
              <a:ext uri="{FF2B5EF4-FFF2-40B4-BE49-F238E27FC236}">
                <a16:creationId xmlns:a16="http://schemas.microsoft.com/office/drawing/2014/main" id="{6DE2D507-065D-6935-6658-E895CE959C2B}"/>
              </a:ext>
            </a:extLst>
          </p:cNvPr>
          <p:cNvSpPr txBox="1">
            <a:spLocks/>
          </p:cNvSpPr>
          <p:nvPr>
            <p:custDataLst>
              <p:tags r:id="rId9"/>
            </p:custDataLst>
          </p:nvPr>
        </p:nvSpPr>
        <p:spPr>
          <a:xfrm>
            <a:off x="9908649" y="1966369"/>
            <a:ext cx="1475934" cy="1475413"/>
          </a:xfrm>
          <a:prstGeom prst="ellipse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5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四个部分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03522D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  <a:sym typeface="Futura"/>
            </a:endParaRPr>
          </a:p>
        </p:txBody>
      </p:sp>
      <p:sp>
        <p:nvSpPr>
          <p:cNvPr id="4" name="Text Placeholder 15">
            <a:extLst>
              <a:ext uri="{FF2B5EF4-FFF2-40B4-BE49-F238E27FC236}">
                <a16:creationId xmlns:a16="http://schemas.microsoft.com/office/drawing/2014/main" id="{50F979EB-0D50-4982-6FEF-1CCBF2E40111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2119170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Keywords: arrow, circle, circles, cycle</a:t>
            </a:r>
          </a:p>
        </p:txBody>
      </p:sp>
    </p:spTree>
    <p:extLst>
      <p:ext uri="{BB962C8B-B14F-4D97-AF65-F5344CB8AC3E}">
        <p14:creationId xmlns:p14="http://schemas.microsoft.com/office/powerpoint/2010/main" val="395445740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6</TotalTime>
  <Words>112</Words>
  <Application>Microsoft Office PowerPoint</Application>
  <PresentationFormat>宽屏</PresentationFormat>
  <Paragraphs>37</Paragraphs>
  <Slides>1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8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</vt:i4>
      </vt:variant>
    </vt:vector>
  </HeadingPairs>
  <TitlesOfParts>
    <vt:vector size="11" baseType="lpstr">
      <vt:lpstr>Futura</vt:lpstr>
      <vt:lpstr>LiciumFont 2022 Bold</vt:lpstr>
      <vt:lpstr>等线</vt:lpstr>
      <vt:lpstr>理想品牌字体 2022</vt:lpstr>
      <vt:lpstr>Arial</vt:lpstr>
      <vt:lpstr>Calibri</vt:lpstr>
      <vt:lpstr>Trebuchet MS</vt:lpstr>
      <vt:lpstr>Verdana</vt:lpstr>
      <vt:lpstr>BCG Grid 16:9</vt:lpstr>
      <vt:lpstr>think-cell 幻灯片</vt:lpstr>
      <vt:lpstr>{title}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{title}</dc:title>
  <dc:creator>后梦雪</dc:creator>
  <cp:lastModifiedBy>后梦雪</cp:lastModifiedBy>
  <cp:revision>3</cp:revision>
  <dcterms:created xsi:type="dcterms:W3CDTF">2025-09-08T07:16:37Z</dcterms:created>
  <dcterms:modified xsi:type="dcterms:W3CDTF">2025-09-08T07:23:30Z</dcterms:modified>
</cp:coreProperties>
</file>